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4"/>
  </p:notesMasterIdLst>
  <p:sldIdLst>
    <p:sldId id="256" r:id="rId5"/>
    <p:sldId id="291" r:id="rId6"/>
    <p:sldId id="290" r:id="rId7"/>
    <p:sldId id="307" r:id="rId8"/>
    <p:sldId id="2147471562" r:id="rId9"/>
    <p:sldId id="261" r:id="rId10"/>
    <p:sldId id="2147471561" r:id="rId11"/>
    <p:sldId id="2147471483" r:id="rId12"/>
    <p:sldId id="2147471472" r:id="rId13"/>
    <p:sldId id="2147471485" r:id="rId14"/>
    <p:sldId id="13060" r:id="rId15"/>
    <p:sldId id="2147375256" r:id="rId16"/>
    <p:sldId id="2147471560" r:id="rId17"/>
    <p:sldId id="2147375261" r:id="rId18"/>
    <p:sldId id="2147375507" r:id="rId19"/>
    <p:sldId id="260" r:id="rId20"/>
    <p:sldId id="2147471565" r:id="rId21"/>
    <p:sldId id="264" r:id="rId22"/>
    <p:sldId id="2147471566" r:id="rId23"/>
    <p:sldId id="2147471567" r:id="rId24"/>
    <p:sldId id="263" r:id="rId25"/>
    <p:sldId id="288" r:id="rId26"/>
    <p:sldId id="304" r:id="rId27"/>
    <p:sldId id="316" r:id="rId28"/>
    <p:sldId id="318" r:id="rId29"/>
    <p:sldId id="315" r:id="rId30"/>
    <p:sldId id="2147471574" r:id="rId31"/>
    <p:sldId id="321" r:id="rId32"/>
    <p:sldId id="2147471563" r:id="rId33"/>
    <p:sldId id="262" r:id="rId34"/>
    <p:sldId id="2147471564" r:id="rId35"/>
    <p:sldId id="2147471569" r:id="rId36"/>
    <p:sldId id="2147471570" r:id="rId37"/>
    <p:sldId id="2147471573" r:id="rId38"/>
    <p:sldId id="2147471572" r:id="rId39"/>
    <p:sldId id="327" r:id="rId40"/>
    <p:sldId id="2147471577" r:id="rId41"/>
    <p:sldId id="265" r:id="rId42"/>
    <p:sldId id="2147471578" r:id="rId43"/>
    <p:sldId id="268" r:id="rId44"/>
    <p:sldId id="272" r:id="rId45"/>
    <p:sldId id="273" r:id="rId46"/>
    <p:sldId id="269" r:id="rId47"/>
    <p:sldId id="270" r:id="rId48"/>
    <p:sldId id="271" r:id="rId49"/>
    <p:sldId id="2147471571" r:id="rId50"/>
    <p:sldId id="2147471568" r:id="rId51"/>
    <p:sldId id="305" r:id="rId52"/>
    <p:sldId id="259" r:id="rId53"/>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FE8AFA-1BF2-456C-B37B-49854641A3DC}" v="182" dt="2023-07-31T18:39:59.5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6" d="100"/>
          <a:sy n="136" d="100"/>
        </p:scale>
        <p:origin x="852"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rckelbaw, Carla" userId="89e5e359-8c52-4425-b0b0-1e6ab999f439" providerId="ADAL" clId="{1E0463B6-0736-4483-9C19-94D2FA0FEF56}"/>
    <pc:docChg chg="addSld delSld modSld">
      <pc:chgData name="Birckelbaw, Carla" userId="89e5e359-8c52-4425-b0b0-1e6ab999f439" providerId="ADAL" clId="{1E0463B6-0736-4483-9C19-94D2FA0FEF56}" dt="2023-07-28T19:58:38.578" v="163"/>
      <pc:docMkLst>
        <pc:docMk/>
      </pc:docMkLst>
      <pc:sldChg chg="del">
        <pc:chgData name="Birckelbaw, Carla" userId="89e5e359-8c52-4425-b0b0-1e6ab999f439" providerId="ADAL" clId="{1E0463B6-0736-4483-9C19-94D2FA0FEF56}" dt="2023-07-28T18:38:25.278" v="36" actId="2696"/>
        <pc:sldMkLst>
          <pc:docMk/>
          <pc:sldMk cId="3080073922" sldId="260"/>
        </pc:sldMkLst>
      </pc:sldChg>
      <pc:sldChg chg="add">
        <pc:chgData name="Birckelbaw, Carla" userId="89e5e359-8c52-4425-b0b0-1e6ab999f439" providerId="ADAL" clId="{1E0463B6-0736-4483-9C19-94D2FA0FEF56}" dt="2023-07-28T19:58:38.578" v="163"/>
        <pc:sldMkLst>
          <pc:docMk/>
          <pc:sldMk cId="3321314250" sldId="261"/>
        </pc:sldMkLst>
      </pc:sldChg>
      <pc:sldChg chg="del">
        <pc:chgData name="Birckelbaw, Carla" userId="89e5e359-8c52-4425-b0b0-1e6ab999f439" providerId="ADAL" clId="{1E0463B6-0736-4483-9C19-94D2FA0FEF56}" dt="2023-07-28T18:38:25.278" v="36" actId="2696"/>
        <pc:sldMkLst>
          <pc:docMk/>
          <pc:sldMk cId="3632864481" sldId="261"/>
        </pc:sldMkLst>
      </pc:sldChg>
      <pc:sldChg chg="del">
        <pc:chgData name="Birckelbaw, Carla" userId="89e5e359-8c52-4425-b0b0-1e6ab999f439" providerId="ADAL" clId="{1E0463B6-0736-4483-9C19-94D2FA0FEF56}" dt="2023-07-28T18:37:50.829" v="35" actId="2696"/>
        <pc:sldMkLst>
          <pc:docMk/>
          <pc:sldMk cId="1109919877" sldId="262"/>
        </pc:sldMkLst>
      </pc:sldChg>
      <pc:sldChg chg="del">
        <pc:chgData name="Birckelbaw, Carla" userId="89e5e359-8c52-4425-b0b0-1e6ab999f439" providerId="ADAL" clId="{1E0463B6-0736-4483-9C19-94D2FA0FEF56}" dt="2023-07-28T18:37:50.829" v="35" actId="2696"/>
        <pc:sldMkLst>
          <pc:docMk/>
          <pc:sldMk cId="58332250" sldId="263"/>
        </pc:sldMkLst>
      </pc:sldChg>
      <pc:sldChg chg="del">
        <pc:chgData name="Birckelbaw, Carla" userId="89e5e359-8c52-4425-b0b0-1e6ab999f439" providerId="ADAL" clId="{1E0463B6-0736-4483-9C19-94D2FA0FEF56}" dt="2023-07-28T18:37:50.829" v="35" actId="2696"/>
        <pc:sldMkLst>
          <pc:docMk/>
          <pc:sldMk cId="1211043330" sldId="264"/>
        </pc:sldMkLst>
      </pc:sldChg>
      <pc:sldChg chg="del">
        <pc:chgData name="Birckelbaw, Carla" userId="89e5e359-8c52-4425-b0b0-1e6ab999f439" providerId="ADAL" clId="{1E0463B6-0736-4483-9C19-94D2FA0FEF56}" dt="2023-07-28T19:20:28.247" v="160" actId="2696"/>
        <pc:sldMkLst>
          <pc:docMk/>
          <pc:sldMk cId="2051593873" sldId="265"/>
        </pc:sldMkLst>
      </pc:sldChg>
      <pc:sldChg chg="del">
        <pc:chgData name="Birckelbaw, Carla" userId="89e5e359-8c52-4425-b0b0-1e6ab999f439" providerId="ADAL" clId="{1E0463B6-0736-4483-9C19-94D2FA0FEF56}" dt="2023-07-28T18:37:50.829" v="35" actId="2696"/>
        <pc:sldMkLst>
          <pc:docMk/>
          <pc:sldMk cId="328831667" sldId="266"/>
        </pc:sldMkLst>
      </pc:sldChg>
      <pc:sldChg chg="del">
        <pc:chgData name="Birckelbaw, Carla" userId="89e5e359-8c52-4425-b0b0-1e6ab999f439" providerId="ADAL" clId="{1E0463B6-0736-4483-9C19-94D2FA0FEF56}" dt="2023-07-28T18:37:50.829" v="35" actId="2696"/>
        <pc:sldMkLst>
          <pc:docMk/>
          <pc:sldMk cId="2325549288" sldId="267"/>
        </pc:sldMkLst>
      </pc:sldChg>
      <pc:sldChg chg="del">
        <pc:chgData name="Birckelbaw, Carla" userId="89e5e359-8c52-4425-b0b0-1e6ab999f439" providerId="ADAL" clId="{1E0463B6-0736-4483-9C19-94D2FA0FEF56}" dt="2023-07-28T19:20:28.247" v="160" actId="2696"/>
        <pc:sldMkLst>
          <pc:docMk/>
          <pc:sldMk cId="3712283205" sldId="268"/>
        </pc:sldMkLst>
      </pc:sldChg>
      <pc:sldChg chg="del">
        <pc:chgData name="Birckelbaw, Carla" userId="89e5e359-8c52-4425-b0b0-1e6ab999f439" providerId="ADAL" clId="{1E0463B6-0736-4483-9C19-94D2FA0FEF56}" dt="2023-07-28T18:38:25.278" v="36" actId="2696"/>
        <pc:sldMkLst>
          <pc:docMk/>
          <pc:sldMk cId="4095133351" sldId="269"/>
        </pc:sldMkLst>
      </pc:sldChg>
      <pc:sldChg chg="del">
        <pc:chgData name="Birckelbaw, Carla" userId="89e5e359-8c52-4425-b0b0-1e6ab999f439" providerId="ADAL" clId="{1E0463B6-0736-4483-9C19-94D2FA0FEF56}" dt="2023-07-28T18:38:25.278" v="36" actId="2696"/>
        <pc:sldMkLst>
          <pc:docMk/>
          <pc:sldMk cId="2586595870" sldId="270"/>
        </pc:sldMkLst>
      </pc:sldChg>
      <pc:sldChg chg="del">
        <pc:chgData name="Birckelbaw, Carla" userId="89e5e359-8c52-4425-b0b0-1e6ab999f439" providerId="ADAL" clId="{1E0463B6-0736-4483-9C19-94D2FA0FEF56}" dt="2023-07-28T18:38:25.278" v="36" actId="2696"/>
        <pc:sldMkLst>
          <pc:docMk/>
          <pc:sldMk cId="239230287" sldId="273"/>
        </pc:sldMkLst>
      </pc:sldChg>
      <pc:sldChg chg="del">
        <pc:chgData name="Birckelbaw, Carla" userId="89e5e359-8c52-4425-b0b0-1e6ab999f439" providerId="ADAL" clId="{1E0463B6-0736-4483-9C19-94D2FA0FEF56}" dt="2023-07-28T18:38:25.278" v="36" actId="2696"/>
        <pc:sldMkLst>
          <pc:docMk/>
          <pc:sldMk cId="3463916979" sldId="274"/>
        </pc:sldMkLst>
      </pc:sldChg>
      <pc:sldChg chg="del">
        <pc:chgData name="Birckelbaw, Carla" userId="89e5e359-8c52-4425-b0b0-1e6ab999f439" providerId="ADAL" clId="{1E0463B6-0736-4483-9C19-94D2FA0FEF56}" dt="2023-07-28T18:38:25.278" v="36" actId="2696"/>
        <pc:sldMkLst>
          <pc:docMk/>
          <pc:sldMk cId="1190148348" sldId="276"/>
        </pc:sldMkLst>
      </pc:sldChg>
      <pc:sldChg chg="del">
        <pc:chgData name="Birckelbaw, Carla" userId="89e5e359-8c52-4425-b0b0-1e6ab999f439" providerId="ADAL" clId="{1E0463B6-0736-4483-9C19-94D2FA0FEF56}" dt="2023-07-28T18:38:25.278" v="36" actId="2696"/>
        <pc:sldMkLst>
          <pc:docMk/>
          <pc:sldMk cId="718440600" sldId="277"/>
        </pc:sldMkLst>
      </pc:sldChg>
      <pc:sldChg chg="del">
        <pc:chgData name="Birckelbaw, Carla" userId="89e5e359-8c52-4425-b0b0-1e6ab999f439" providerId="ADAL" clId="{1E0463B6-0736-4483-9C19-94D2FA0FEF56}" dt="2023-07-28T18:38:25.278" v="36" actId="2696"/>
        <pc:sldMkLst>
          <pc:docMk/>
          <pc:sldMk cId="1519484381" sldId="278"/>
        </pc:sldMkLst>
      </pc:sldChg>
      <pc:sldChg chg="del">
        <pc:chgData name="Birckelbaw, Carla" userId="89e5e359-8c52-4425-b0b0-1e6ab999f439" providerId="ADAL" clId="{1E0463B6-0736-4483-9C19-94D2FA0FEF56}" dt="2023-07-28T18:38:25.278" v="36" actId="2696"/>
        <pc:sldMkLst>
          <pc:docMk/>
          <pc:sldMk cId="2262529360" sldId="279"/>
        </pc:sldMkLst>
      </pc:sldChg>
      <pc:sldChg chg="del">
        <pc:chgData name="Birckelbaw, Carla" userId="89e5e359-8c52-4425-b0b0-1e6ab999f439" providerId="ADAL" clId="{1E0463B6-0736-4483-9C19-94D2FA0FEF56}" dt="2023-07-28T18:38:25.278" v="36" actId="2696"/>
        <pc:sldMkLst>
          <pc:docMk/>
          <pc:sldMk cId="476015205" sldId="282"/>
        </pc:sldMkLst>
      </pc:sldChg>
      <pc:sldChg chg="del">
        <pc:chgData name="Birckelbaw, Carla" userId="89e5e359-8c52-4425-b0b0-1e6ab999f439" providerId="ADAL" clId="{1E0463B6-0736-4483-9C19-94D2FA0FEF56}" dt="2023-07-28T18:38:25.278" v="36" actId="2696"/>
        <pc:sldMkLst>
          <pc:docMk/>
          <pc:sldMk cId="4145796421" sldId="283"/>
        </pc:sldMkLst>
      </pc:sldChg>
      <pc:sldChg chg="del">
        <pc:chgData name="Birckelbaw, Carla" userId="89e5e359-8c52-4425-b0b0-1e6ab999f439" providerId="ADAL" clId="{1E0463B6-0736-4483-9C19-94D2FA0FEF56}" dt="2023-07-28T18:38:25.278" v="36" actId="2696"/>
        <pc:sldMkLst>
          <pc:docMk/>
          <pc:sldMk cId="4000365813" sldId="284"/>
        </pc:sldMkLst>
      </pc:sldChg>
      <pc:sldChg chg="modNotesTx">
        <pc:chgData name="Birckelbaw, Carla" userId="89e5e359-8c52-4425-b0b0-1e6ab999f439" providerId="ADAL" clId="{1E0463B6-0736-4483-9C19-94D2FA0FEF56}" dt="2023-07-28T19:21:00.772" v="161" actId="20577"/>
        <pc:sldMkLst>
          <pc:docMk/>
          <pc:sldMk cId="3541762513" sldId="287"/>
        </pc:sldMkLst>
      </pc:sldChg>
      <pc:sldChg chg="del">
        <pc:chgData name="Birckelbaw, Carla" userId="89e5e359-8c52-4425-b0b0-1e6ab999f439" providerId="ADAL" clId="{1E0463B6-0736-4483-9C19-94D2FA0FEF56}" dt="2023-07-28T18:36:42.021" v="2" actId="47"/>
        <pc:sldMkLst>
          <pc:docMk/>
          <pc:sldMk cId="3854944520" sldId="289"/>
        </pc:sldMkLst>
      </pc:sldChg>
      <pc:sldChg chg="modSp mod">
        <pc:chgData name="Birckelbaw, Carla" userId="89e5e359-8c52-4425-b0b0-1e6ab999f439" providerId="ADAL" clId="{1E0463B6-0736-4483-9C19-94D2FA0FEF56}" dt="2023-07-28T18:36:32.990" v="1" actId="20577"/>
        <pc:sldMkLst>
          <pc:docMk/>
          <pc:sldMk cId="4275430420" sldId="291"/>
        </pc:sldMkLst>
        <pc:spChg chg="mod">
          <ac:chgData name="Birckelbaw, Carla" userId="89e5e359-8c52-4425-b0b0-1e6ab999f439" providerId="ADAL" clId="{1E0463B6-0736-4483-9C19-94D2FA0FEF56}" dt="2023-07-28T18:36:32.990" v="1" actId="20577"/>
          <ac:spMkLst>
            <pc:docMk/>
            <pc:sldMk cId="4275430420" sldId="291"/>
            <ac:spMk id="2" creationId="{00000000-0000-0000-0000-000000000000}"/>
          </ac:spMkLst>
        </pc:spChg>
      </pc:sldChg>
      <pc:sldChg chg="modSp mod">
        <pc:chgData name="Birckelbaw, Carla" userId="89e5e359-8c52-4425-b0b0-1e6ab999f439" providerId="ADAL" clId="{1E0463B6-0736-4483-9C19-94D2FA0FEF56}" dt="2023-07-28T18:38:45.392" v="60" actId="20577"/>
        <pc:sldMkLst>
          <pc:docMk/>
          <pc:sldMk cId="1256129873" sldId="304"/>
        </pc:sldMkLst>
        <pc:spChg chg="mod">
          <ac:chgData name="Birckelbaw, Carla" userId="89e5e359-8c52-4425-b0b0-1e6ab999f439" providerId="ADAL" clId="{1E0463B6-0736-4483-9C19-94D2FA0FEF56}" dt="2023-07-28T18:38:45.392" v="60" actId="20577"/>
          <ac:spMkLst>
            <pc:docMk/>
            <pc:sldMk cId="1256129873" sldId="304"/>
            <ac:spMk id="3" creationId="{00000000-0000-0000-0000-000000000000}"/>
          </ac:spMkLst>
        </pc:spChg>
      </pc:sldChg>
      <pc:sldChg chg="modSp mod">
        <pc:chgData name="Birckelbaw, Carla" userId="89e5e359-8c52-4425-b0b0-1e6ab999f439" providerId="ADAL" clId="{1E0463B6-0736-4483-9C19-94D2FA0FEF56}" dt="2023-07-28T18:37:08.093" v="34" actId="20577"/>
        <pc:sldMkLst>
          <pc:docMk/>
          <pc:sldMk cId="2254681380" sldId="307"/>
        </pc:sldMkLst>
        <pc:spChg chg="mod">
          <ac:chgData name="Birckelbaw, Carla" userId="89e5e359-8c52-4425-b0b0-1e6ab999f439" providerId="ADAL" clId="{1E0463B6-0736-4483-9C19-94D2FA0FEF56}" dt="2023-07-28T18:37:08.093" v="34" actId="20577"/>
          <ac:spMkLst>
            <pc:docMk/>
            <pc:sldMk cId="2254681380" sldId="307"/>
            <ac:spMk id="5" creationId="{EA3C1E3A-C1CE-4F61-B3E6-F072906FC8B7}"/>
          </ac:spMkLst>
        </pc:spChg>
      </pc:sldChg>
      <pc:sldChg chg="modSp">
        <pc:chgData name="Birckelbaw, Carla" userId="89e5e359-8c52-4425-b0b0-1e6ab999f439" providerId="ADAL" clId="{1E0463B6-0736-4483-9C19-94D2FA0FEF56}" dt="2023-07-28T18:39:34.848" v="159" actId="20577"/>
        <pc:sldMkLst>
          <pc:docMk/>
          <pc:sldMk cId="407245599" sldId="315"/>
        </pc:sldMkLst>
        <pc:spChg chg="mod">
          <ac:chgData name="Birckelbaw, Carla" userId="89e5e359-8c52-4425-b0b0-1e6ab999f439" providerId="ADAL" clId="{1E0463B6-0736-4483-9C19-94D2FA0FEF56}" dt="2023-07-28T18:39:34.848" v="159" actId="20577"/>
          <ac:spMkLst>
            <pc:docMk/>
            <pc:sldMk cId="407245599" sldId="315"/>
            <ac:spMk id="3" creationId="{00000000-0000-0000-0000-000000000000}"/>
          </ac:spMkLst>
        </pc:spChg>
      </pc:sldChg>
      <pc:sldChg chg="modSp mod">
        <pc:chgData name="Birckelbaw, Carla" userId="89e5e359-8c52-4425-b0b0-1e6ab999f439" providerId="ADAL" clId="{1E0463B6-0736-4483-9C19-94D2FA0FEF56}" dt="2023-07-28T18:38:58.493" v="76" actId="20577"/>
        <pc:sldMkLst>
          <pc:docMk/>
          <pc:sldMk cId="3899049276" sldId="316"/>
        </pc:sldMkLst>
        <pc:spChg chg="mod">
          <ac:chgData name="Birckelbaw, Carla" userId="89e5e359-8c52-4425-b0b0-1e6ab999f439" providerId="ADAL" clId="{1E0463B6-0736-4483-9C19-94D2FA0FEF56}" dt="2023-07-28T18:38:58.493" v="76" actId="20577"/>
          <ac:spMkLst>
            <pc:docMk/>
            <pc:sldMk cId="3899049276" sldId="316"/>
            <ac:spMk id="3" creationId="{00000000-0000-0000-0000-000000000000}"/>
          </ac:spMkLst>
        </pc:spChg>
      </pc:sldChg>
      <pc:sldChg chg="del">
        <pc:chgData name="Birckelbaw, Carla" userId="89e5e359-8c52-4425-b0b0-1e6ab999f439" providerId="ADAL" clId="{1E0463B6-0736-4483-9C19-94D2FA0FEF56}" dt="2023-07-28T18:39:20.049" v="123" actId="2696"/>
        <pc:sldMkLst>
          <pc:docMk/>
          <pc:sldMk cId="1133805475" sldId="317"/>
        </pc:sldMkLst>
      </pc:sldChg>
      <pc:sldChg chg="modSp mod">
        <pc:chgData name="Birckelbaw, Carla" userId="89e5e359-8c52-4425-b0b0-1e6ab999f439" providerId="ADAL" clId="{1E0463B6-0736-4483-9C19-94D2FA0FEF56}" dt="2023-07-28T18:39:12" v="122" actId="20577"/>
        <pc:sldMkLst>
          <pc:docMk/>
          <pc:sldMk cId="1493332705" sldId="318"/>
        </pc:sldMkLst>
        <pc:spChg chg="mod">
          <ac:chgData name="Birckelbaw, Carla" userId="89e5e359-8c52-4425-b0b0-1e6ab999f439" providerId="ADAL" clId="{1E0463B6-0736-4483-9C19-94D2FA0FEF56}" dt="2023-07-28T18:39:12" v="122" actId="20577"/>
          <ac:spMkLst>
            <pc:docMk/>
            <pc:sldMk cId="1493332705" sldId="318"/>
            <ac:spMk id="3" creationId="{00000000-0000-0000-0000-000000000000}"/>
          </ac:spMkLst>
        </pc:spChg>
      </pc:sldChg>
      <pc:sldChg chg="del">
        <pc:chgData name="Birckelbaw, Carla" userId="89e5e359-8c52-4425-b0b0-1e6ab999f439" providerId="ADAL" clId="{1E0463B6-0736-4483-9C19-94D2FA0FEF56}" dt="2023-07-28T18:39:20.049" v="123" actId="2696"/>
        <pc:sldMkLst>
          <pc:docMk/>
          <pc:sldMk cId="2911584772" sldId="319"/>
        </pc:sldMkLst>
      </pc:sldChg>
      <pc:sldChg chg="del">
        <pc:chgData name="Birckelbaw, Carla" userId="89e5e359-8c52-4425-b0b0-1e6ab999f439" providerId="ADAL" clId="{1E0463B6-0736-4483-9C19-94D2FA0FEF56}" dt="2023-07-28T18:39:20.049" v="123" actId="2696"/>
        <pc:sldMkLst>
          <pc:docMk/>
          <pc:sldMk cId="2307139306" sldId="320"/>
        </pc:sldMkLst>
      </pc:sldChg>
      <pc:sldChg chg="del">
        <pc:chgData name="Birckelbaw, Carla" userId="89e5e359-8c52-4425-b0b0-1e6ab999f439" providerId="ADAL" clId="{1E0463B6-0736-4483-9C19-94D2FA0FEF56}" dt="2023-07-28T18:37:50.829" v="35" actId="2696"/>
        <pc:sldMkLst>
          <pc:docMk/>
          <pc:sldMk cId="1641352156" sldId="325"/>
        </pc:sldMkLst>
      </pc:sldChg>
      <pc:sldChg chg="del">
        <pc:chgData name="Birckelbaw, Carla" userId="89e5e359-8c52-4425-b0b0-1e6ab999f439" providerId="ADAL" clId="{1E0463B6-0736-4483-9C19-94D2FA0FEF56}" dt="2023-07-28T18:37:50.829" v="35" actId="2696"/>
        <pc:sldMkLst>
          <pc:docMk/>
          <pc:sldMk cId="3530315330" sldId="326"/>
        </pc:sldMkLst>
      </pc:sldChg>
      <pc:sldChg chg="del">
        <pc:chgData name="Birckelbaw, Carla" userId="89e5e359-8c52-4425-b0b0-1e6ab999f439" providerId="ADAL" clId="{1E0463B6-0736-4483-9C19-94D2FA0FEF56}" dt="2023-07-28T18:38:25.278" v="36" actId="2696"/>
        <pc:sldMkLst>
          <pc:docMk/>
          <pc:sldMk cId="1687825222" sldId="328"/>
        </pc:sldMkLst>
      </pc:sldChg>
      <pc:sldChg chg="del">
        <pc:chgData name="Birckelbaw, Carla" userId="89e5e359-8c52-4425-b0b0-1e6ab999f439" providerId="ADAL" clId="{1E0463B6-0736-4483-9C19-94D2FA0FEF56}" dt="2023-07-28T18:38:25.278" v="36" actId="2696"/>
        <pc:sldMkLst>
          <pc:docMk/>
          <pc:sldMk cId="2351806647" sldId="329"/>
        </pc:sldMkLst>
      </pc:sldChg>
      <pc:sldChg chg="del">
        <pc:chgData name="Birckelbaw, Carla" userId="89e5e359-8c52-4425-b0b0-1e6ab999f439" providerId="ADAL" clId="{1E0463B6-0736-4483-9C19-94D2FA0FEF56}" dt="2023-07-28T18:38:25.278" v="36" actId="2696"/>
        <pc:sldMkLst>
          <pc:docMk/>
          <pc:sldMk cId="2449852136" sldId="330"/>
        </pc:sldMkLst>
      </pc:sldChg>
      <pc:sldChg chg="del">
        <pc:chgData name="Birckelbaw, Carla" userId="89e5e359-8c52-4425-b0b0-1e6ab999f439" providerId="ADAL" clId="{1E0463B6-0736-4483-9C19-94D2FA0FEF56}" dt="2023-07-28T19:20:28.247" v="160" actId="2696"/>
        <pc:sldMkLst>
          <pc:docMk/>
          <pc:sldMk cId="3456041279" sldId="331"/>
        </pc:sldMkLst>
      </pc:sldChg>
      <pc:sldChg chg="del">
        <pc:chgData name="Birckelbaw, Carla" userId="89e5e359-8c52-4425-b0b0-1e6ab999f439" providerId="ADAL" clId="{1E0463B6-0736-4483-9C19-94D2FA0FEF56}" dt="2023-07-28T19:20:28.247" v="160" actId="2696"/>
        <pc:sldMkLst>
          <pc:docMk/>
          <pc:sldMk cId="3070055196" sldId="332"/>
        </pc:sldMkLst>
      </pc:sldChg>
      <pc:sldChg chg="del">
        <pc:chgData name="Birckelbaw, Carla" userId="89e5e359-8c52-4425-b0b0-1e6ab999f439" providerId="ADAL" clId="{1E0463B6-0736-4483-9C19-94D2FA0FEF56}" dt="2023-07-28T19:20:28.247" v="160" actId="2696"/>
        <pc:sldMkLst>
          <pc:docMk/>
          <pc:sldMk cId="2252860906" sldId="333"/>
        </pc:sldMkLst>
      </pc:sldChg>
      <pc:sldChg chg="del">
        <pc:chgData name="Birckelbaw, Carla" userId="89e5e359-8c52-4425-b0b0-1e6ab999f439" providerId="ADAL" clId="{1E0463B6-0736-4483-9C19-94D2FA0FEF56}" dt="2023-07-28T19:20:28.247" v="160" actId="2696"/>
        <pc:sldMkLst>
          <pc:docMk/>
          <pc:sldMk cId="3925048914" sldId="334"/>
        </pc:sldMkLst>
      </pc:sldChg>
      <pc:sldChg chg="del">
        <pc:chgData name="Birckelbaw, Carla" userId="89e5e359-8c52-4425-b0b0-1e6ab999f439" providerId="ADAL" clId="{1E0463B6-0736-4483-9C19-94D2FA0FEF56}" dt="2023-07-28T19:20:28.247" v="160" actId="2696"/>
        <pc:sldMkLst>
          <pc:docMk/>
          <pc:sldMk cId="1100449748" sldId="336"/>
        </pc:sldMkLst>
      </pc:sldChg>
      <pc:sldChg chg="del">
        <pc:chgData name="Birckelbaw, Carla" userId="89e5e359-8c52-4425-b0b0-1e6ab999f439" providerId="ADAL" clId="{1E0463B6-0736-4483-9C19-94D2FA0FEF56}" dt="2023-07-28T19:20:28.247" v="160" actId="2696"/>
        <pc:sldMkLst>
          <pc:docMk/>
          <pc:sldMk cId="668527412" sldId="337"/>
        </pc:sldMkLst>
      </pc:sldChg>
      <pc:sldChg chg="del">
        <pc:chgData name="Birckelbaw, Carla" userId="89e5e359-8c52-4425-b0b0-1e6ab999f439" providerId="ADAL" clId="{1E0463B6-0736-4483-9C19-94D2FA0FEF56}" dt="2023-07-28T19:20:28.247" v="160" actId="2696"/>
        <pc:sldMkLst>
          <pc:docMk/>
          <pc:sldMk cId="4058863332" sldId="338"/>
        </pc:sldMkLst>
      </pc:sldChg>
      <pc:sldChg chg="del">
        <pc:chgData name="Birckelbaw, Carla" userId="89e5e359-8c52-4425-b0b0-1e6ab999f439" providerId="ADAL" clId="{1E0463B6-0736-4483-9C19-94D2FA0FEF56}" dt="2023-07-28T19:20:28.247" v="160" actId="2696"/>
        <pc:sldMkLst>
          <pc:docMk/>
          <pc:sldMk cId="915714183" sldId="339"/>
        </pc:sldMkLst>
      </pc:sldChg>
      <pc:sldChg chg="del">
        <pc:chgData name="Birckelbaw, Carla" userId="89e5e359-8c52-4425-b0b0-1e6ab999f439" providerId="ADAL" clId="{1E0463B6-0736-4483-9C19-94D2FA0FEF56}" dt="2023-07-28T19:20:28.247" v="160" actId="2696"/>
        <pc:sldMkLst>
          <pc:docMk/>
          <pc:sldMk cId="2976864641" sldId="340"/>
        </pc:sldMkLst>
      </pc:sldChg>
      <pc:sldChg chg="del">
        <pc:chgData name="Birckelbaw, Carla" userId="89e5e359-8c52-4425-b0b0-1e6ab999f439" providerId="ADAL" clId="{1E0463B6-0736-4483-9C19-94D2FA0FEF56}" dt="2023-07-28T19:20:28.247" v="160" actId="2696"/>
        <pc:sldMkLst>
          <pc:docMk/>
          <pc:sldMk cId="4088037242" sldId="341"/>
        </pc:sldMkLst>
      </pc:sldChg>
      <pc:sldChg chg="delDesignElem">
        <pc:chgData name="Birckelbaw, Carla" userId="89e5e359-8c52-4425-b0b0-1e6ab999f439" providerId="ADAL" clId="{1E0463B6-0736-4483-9C19-94D2FA0FEF56}" dt="2023-07-28T19:37:17.085" v="162"/>
        <pc:sldMkLst>
          <pc:docMk/>
          <pc:sldMk cId="1116907510" sldId="2147471561"/>
        </pc:sldMkLst>
      </pc:sldChg>
      <pc:sldChg chg="add">
        <pc:chgData name="Birckelbaw, Carla" userId="89e5e359-8c52-4425-b0b0-1e6ab999f439" providerId="ADAL" clId="{1E0463B6-0736-4483-9C19-94D2FA0FEF56}" dt="2023-07-28T19:58:38.578" v="163"/>
        <pc:sldMkLst>
          <pc:docMk/>
          <pc:sldMk cId="517078889" sldId="2147471562"/>
        </pc:sldMkLst>
      </pc:sldChg>
    </pc:docChg>
  </pc:docChgLst>
  <pc:docChgLst>
    <pc:chgData name="Regilio, Michael" userId="S::mjregil@ilstu.edu::884d9027-14ab-4b3a-8344-fc55ebc91c18" providerId="AD" clId="Web-{4782B86A-3801-BC6E-5EC2-C76749A04361}"/>
    <pc:docChg chg="modSld">
      <pc:chgData name="Regilio, Michael" userId="S::mjregil@ilstu.edu::884d9027-14ab-4b3a-8344-fc55ebc91c18" providerId="AD" clId="Web-{4782B86A-3801-BC6E-5EC2-C76749A04361}" dt="2023-08-01T18:26:28.666" v="1"/>
      <pc:docMkLst>
        <pc:docMk/>
      </pc:docMkLst>
      <pc:sldChg chg="modNotes">
        <pc:chgData name="Regilio, Michael" userId="S::mjregil@ilstu.edu::884d9027-14ab-4b3a-8344-fc55ebc91c18" providerId="AD" clId="Web-{4782B86A-3801-BC6E-5EC2-C76749A04361}" dt="2023-08-01T18:26:28.666" v="1"/>
        <pc:sldMkLst>
          <pc:docMk/>
          <pc:sldMk cId="2320902698" sldId="2147471568"/>
        </pc:sldMkLst>
      </pc:sldChg>
    </pc:docChg>
  </pc:docChgLst>
  <pc:docChgLst>
    <pc:chgData name="Birckelbaw, Carla" userId="89e5e359-8c52-4425-b0b0-1e6ab999f439" providerId="ADAL" clId="{B2FE8AFA-1BF2-456C-B37B-49854641A3DC}"/>
    <pc:docChg chg="undo custSel addSld delSld modSld sldOrd">
      <pc:chgData name="Birckelbaw, Carla" userId="89e5e359-8c52-4425-b0b0-1e6ab999f439" providerId="ADAL" clId="{B2FE8AFA-1BF2-456C-B37B-49854641A3DC}" dt="2023-07-31T18:39:59.548" v="2882"/>
      <pc:docMkLst>
        <pc:docMk/>
      </pc:docMkLst>
      <pc:sldChg chg="addSp modSp">
        <pc:chgData name="Birckelbaw, Carla" userId="89e5e359-8c52-4425-b0b0-1e6ab999f439" providerId="ADAL" clId="{B2FE8AFA-1BF2-456C-B37B-49854641A3DC}" dt="2023-07-29T15:42:26.653" v="369"/>
        <pc:sldMkLst>
          <pc:docMk/>
          <pc:sldMk cId="3080073922" sldId="260"/>
        </pc:sldMkLst>
        <pc:spChg chg="add mod">
          <ac:chgData name="Birckelbaw, Carla" userId="89e5e359-8c52-4425-b0b0-1e6ab999f439" providerId="ADAL" clId="{B2FE8AFA-1BF2-456C-B37B-49854641A3DC}" dt="2023-07-29T15:42:26.653" v="369"/>
          <ac:spMkLst>
            <pc:docMk/>
            <pc:sldMk cId="3080073922" sldId="260"/>
            <ac:spMk id="5" creationId="{6C1CE306-6324-1EF8-E78D-2985B3AF8D69}"/>
          </ac:spMkLst>
        </pc:spChg>
      </pc:sldChg>
      <pc:sldChg chg="addSp modSp">
        <pc:chgData name="Birckelbaw, Carla" userId="89e5e359-8c52-4425-b0b0-1e6ab999f439" providerId="ADAL" clId="{B2FE8AFA-1BF2-456C-B37B-49854641A3DC}" dt="2023-07-29T15:41:14.061" v="340"/>
        <pc:sldMkLst>
          <pc:docMk/>
          <pc:sldMk cId="3321314250" sldId="261"/>
        </pc:sldMkLst>
        <pc:spChg chg="add mod">
          <ac:chgData name="Birckelbaw, Carla" userId="89e5e359-8c52-4425-b0b0-1e6ab999f439" providerId="ADAL" clId="{B2FE8AFA-1BF2-456C-B37B-49854641A3DC}" dt="2023-07-29T15:41:14.061" v="340"/>
          <ac:spMkLst>
            <pc:docMk/>
            <pc:sldMk cId="3321314250" sldId="261"/>
            <ac:spMk id="5" creationId="{DC3CE475-BE91-77D6-BDB4-FE3AD3CF734F}"/>
          </ac:spMkLst>
        </pc:spChg>
      </pc:sldChg>
      <pc:sldChg chg="addSp modSp">
        <pc:chgData name="Birckelbaw, Carla" userId="89e5e359-8c52-4425-b0b0-1e6ab999f439" providerId="ADAL" clId="{B2FE8AFA-1BF2-456C-B37B-49854641A3DC}" dt="2023-07-29T15:45:46.039" v="653"/>
        <pc:sldMkLst>
          <pc:docMk/>
          <pc:sldMk cId="1511318084" sldId="262"/>
        </pc:sldMkLst>
        <pc:spChg chg="add mod">
          <ac:chgData name="Birckelbaw, Carla" userId="89e5e359-8c52-4425-b0b0-1e6ab999f439" providerId="ADAL" clId="{B2FE8AFA-1BF2-456C-B37B-49854641A3DC}" dt="2023-07-29T15:45:46.039" v="653"/>
          <ac:spMkLst>
            <pc:docMk/>
            <pc:sldMk cId="1511318084" sldId="262"/>
            <ac:spMk id="5" creationId="{98FD0876-0A3A-E6E5-6B27-0ABE6B84ED4B}"/>
          </ac:spMkLst>
        </pc:spChg>
      </pc:sldChg>
      <pc:sldChg chg="addSp modSp">
        <pc:chgData name="Birckelbaw, Carla" userId="89e5e359-8c52-4425-b0b0-1e6ab999f439" providerId="ADAL" clId="{B2FE8AFA-1BF2-456C-B37B-49854641A3DC}" dt="2023-07-29T15:42:45.193" v="386"/>
        <pc:sldMkLst>
          <pc:docMk/>
          <pc:sldMk cId="805898147" sldId="263"/>
        </pc:sldMkLst>
        <pc:spChg chg="add mod">
          <ac:chgData name="Birckelbaw, Carla" userId="89e5e359-8c52-4425-b0b0-1e6ab999f439" providerId="ADAL" clId="{B2FE8AFA-1BF2-456C-B37B-49854641A3DC}" dt="2023-07-29T15:42:45.193" v="386"/>
          <ac:spMkLst>
            <pc:docMk/>
            <pc:sldMk cId="805898147" sldId="263"/>
            <ac:spMk id="5" creationId="{C2BBFAA4-B901-4CC0-0D3F-4D2684998CA4}"/>
          </ac:spMkLst>
        </pc:spChg>
      </pc:sldChg>
      <pc:sldChg chg="addSp modSp">
        <pc:chgData name="Birckelbaw, Carla" userId="89e5e359-8c52-4425-b0b0-1e6ab999f439" providerId="ADAL" clId="{B2FE8AFA-1BF2-456C-B37B-49854641A3DC}" dt="2023-07-29T15:42:40.715" v="383"/>
        <pc:sldMkLst>
          <pc:docMk/>
          <pc:sldMk cId="322039240" sldId="264"/>
        </pc:sldMkLst>
        <pc:spChg chg="add mod">
          <ac:chgData name="Birckelbaw, Carla" userId="89e5e359-8c52-4425-b0b0-1e6ab999f439" providerId="ADAL" clId="{B2FE8AFA-1BF2-456C-B37B-49854641A3DC}" dt="2023-07-29T15:42:40.715" v="383"/>
          <ac:spMkLst>
            <pc:docMk/>
            <pc:sldMk cId="322039240" sldId="264"/>
            <ac:spMk id="9" creationId="{772B3DDE-FE53-829B-092A-1D887C618E4F}"/>
          </ac:spMkLst>
        </pc:spChg>
      </pc:sldChg>
      <pc:sldChg chg="addSp modSp add">
        <pc:chgData name="Birckelbaw, Carla" userId="89e5e359-8c52-4425-b0b0-1e6ab999f439" providerId="ADAL" clId="{B2FE8AFA-1BF2-456C-B37B-49854641A3DC}" dt="2023-07-31T18:39:33.318" v="2875"/>
        <pc:sldMkLst>
          <pc:docMk/>
          <pc:sldMk cId="51510890" sldId="265"/>
        </pc:sldMkLst>
        <pc:spChg chg="add mod">
          <ac:chgData name="Birckelbaw, Carla" userId="89e5e359-8c52-4425-b0b0-1e6ab999f439" providerId="ADAL" clId="{B2FE8AFA-1BF2-456C-B37B-49854641A3DC}" dt="2023-07-31T18:39:33.318" v="2875"/>
          <ac:spMkLst>
            <pc:docMk/>
            <pc:sldMk cId="51510890" sldId="265"/>
            <ac:spMk id="3" creationId="{30459815-6BBE-688C-9236-0A1A65D5AE4D}"/>
          </ac:spMkLst>
        </pc:spChg>
      </pc:sldChg>
      <pc:sldChg chg="addSp modSp add">
        <pc:chgData name="Birckelbaw, Carla" userId="89e5e359-8c52-4425-b0b0-1e6ab999f439" providerId="ADAL" clId="{B2FE8AFA-1BF2-456C-B37B-49854641A3DC}" dt="2023-07-31T18:39:39.492" v="2877"/>
        <pc:sldMkLst>
          <pc:docMk/>
          <pc:sldMk cId="2700890038" sldId="268"/>
        </pc:sldMkLst>
        <pc:spChg chg="add mod">
          <ac:chgData name="Birckelbaw, Carla" userId="89e5e359-8c52-4425-b0b0-1e6ab999f439" providerId="ADAL" clId="{B2FE8AFA-1BF2-456C-B37B-49854641A3DC}" dt="2023-07-31T18:39:39.492" v="2877"/>
          <ac:spMkLst>
            <pc:docMk/>
            <pc:sldMk cId="2700890038" sldId="268"/>
            <ac:spMk id="3" creationId="{7D6C062F-4C50-BBB5-AD05-C20859E6AF2B}"/>
          </ac:spMkLst>
        </pc:spChg>
      </pc:sldChg>
      <pc:sldChg chg="addSp modSp add">
        <pc:chgData name="Birckelbaw, Carla" userId="89e5e359-8c52-4425-b0b0-1e6ab999f439" providerId="ADAL" clId="{B2FE8AFA-1BF2-456C-B37B-49854641A3DC}" dt="2023-07-31T18:39:53.628" v="2880"/>
        <pc:sldMkLst>
          <pc:docMk/>
          <pc:sldMk cId="1743465032" sldId="269"/>
        </pc:sldMkLst>
        <pc:spChg chg="add mod">
          <ac:chgData name="Birckelbaw, Carla" userId="89e5e359-8c52-4425-b0b0-1e6ab999f439" providerId="ADAL" clId="{B2FE8AFA-1BF2-456C-B37B-49854641A3DC}" dt="2023-07-31T18:39:53.628" v="2880"/>
          <ac:spMkLst>
            <pc:docMk/>
            <pc:sldMk cId="1743465032" sldId="269"/>
            <ac:spMk id="3" creationId="{EFE936EC-2E30-61A0-F964-E621F3C6F609}"/>
          </ac:spMkLst>
        </pc:spChg>
      </pc:sldChg>
      <pc:sldChg chg="addSp modSp add">
        <pc:chgData name="Birckelbaw, Carla" userId="89e5e359-8c52-4425-b0b0-1e6ab999f439" providerId="ADAL" clId="{B2FE8AFA-1BF2-456C-B37B-49854641A3DC}" dt="2023-07-31T18:39:57.093" v="2881"/>
        <pc:sldMkLst>
          <pc:docMk/>
          <pc:sldMk cId="147157984" sldId="270"/>
        </pc:sldMkLst>
        <pc:spChg chg="add mod">
          <ac:chgData name="Birckelbaw, Carla" userId="89e5e359-8c52-4425-b0b0-1e6ab999f439" providerId="ADAL" clId="{B2FE8AFA-1BF2-456C-B37B-49854641A3DC}" dt="2023-07-31T18:39:57.093" v="2881"/>
          <ac:spMkLst>
            <pc:docMk/>
            <pc:sldMk cId="147157984" sldId="270"/>
            <ac:spMk id="3" creationId="{B32BED34-9E05-ECC1-0903-E1ECA40E82F8}"/>
          </ac:spMkLst>
        </pc:spChg>
      </pc:sldChg>
      <pc:sldChg chg="addSp modSp add">
        <pc:chgData name="Birckelbaw, Carla" userId="89e5e359-8c52-4425-b0b0-1e6ab999f439" providerId="ADAL" clId="{B2FE8AFA-1BF2-456C-B37B-49854641A3DC}" dt="2023-07-31T18:39:59.548" v="2882"/>
        <pc:sldMkLst>
          <pc:docMk/>
          <pc:sldMk cId="1482257662" sldId="271"/>
        </pc:sldMkLst>
        <pc:spChg chg="add mod">
          <ac:chgData name="Birckelbaw, Carla" userId="89e5e359-8c52-4425-b0b0-1e6ab999f439" providerId="ADAL" clId="{B2FE8AFA-1BF2-456C-B37B-49854641A3DC}" dt="2023-07-31T18:39:59.548" v="2882"/>
          <ac:spMkLst>
            <pc:docMk/>
            <pc:sldMk cId="1482257662" sldId="271"/>
            <ac:spMk id="3" creationId="{A656B575-3591-D0A3-547F-68EC35D6E529}"/>
          </ac:spMkLst>
        </pc:spChg>
      </pc:sldChg>
      <pc:sldChg chg="addSp modSp add">
        <pc:chgData name="Birckelbaw, Carla" userId="89e5e359-8c52-4425-b0b0-1e6ab999f439" providerId="ADAL" clId="{B2FE8AFA-1BF2-456C-B37B-49854641A3DC}" dt="2023-07-31T18:39:47.784" v="2878"/>
        <pc:sldMkLst>
          <pc:docMk/>
          <pc:sldMk cId="2937216289" sldId="272"/>
        </pc:sldMkLst>
        <pc:spChg chg="add mod">
          <ac:chgData name="Birckelbaw, Carla" userId="89e5e359-8c52-4425-b0b0-1e6ab999f439" providerId="ADAL" clId="{B2FE8AFA-1BF2-456C-B37B-49854641A3DC}" dt="2023-07-31T18:39:47.784" v="2878"/>
          <ac:spMkLst>
            <pc:docMk/>
            <pc:sldMk cId="2937216289" sldId="272"/>
            <ac:spMk id="5" creationId="{F9894838-AC19-5772-E3C0-72E86C8853FF}"/>
          </ac:spMkLst>
        </pc:spChg>
      </pc:sldChg>
      <pc:sldChg chg="addSp modSp add">
        <pc:chgData name="Birckelbaw, Carla" userId="89e5e359-8c52-4425-b0b0-1e6ab999f439" providerId="ADAL" clId="{B2FE8AFA-1BF2-456C-B37B-49854641A3DC}" dt="2023-07-31T18:39:50.324" v="2879"/>
        <pc:sldMkLst>
          <pc:docMk/>
          <pc:sldMk cId="2513159491" sldId="273"/>
        </pc:sldMkLst>
        <pc:spChg chg="add mod">
          <ac:chgData name="Birckelbaw, Carla" userId="89e5e359-8c52-4425-b0b0-1e6ab999f439" providerId="ADAL" clId="{B2FE8AFA-1BF2-456C-B37B-49854641A3DC}" dt="2023-07-31T18:39:50.324" v="2879"/>
          <ac:spMkLst>
            <pc:docMk/>
            <pc:sldMk cId="2513159491" sldId="273"/>
            <ac:spMk id="2" creationId="{FCA25E93-1C85-16D3-6EF0-7ED0E034FEC0}"/>
          </ac:spMkLst>
        </pc:spChg>
      </pc:sldChg>
      <pc:sldChg chg="del">
        <pc:chgData name="Birckelbaw, Carla" userId="89e5e359-8c52-4425-b0b0-1e6ab999f439" providerId="ADAL" clId="{B2FE8AFA-1BF2-456C-B37B-49854641A3DC}" dt="2023-07-28T20:02:20.369" v="0" actId="47"/>
        <pc:sldMkLst>
          <pc:docMk/>
          <pc:sldMk cId="3541762513" sldId="287"/>
        </pc:sldMkLst>
      </pc:sldChg>
      <pc:sldChg chg="modNotesTx">
        <pc:chgData name="Birckelbaw, Carla" userId="89e5e359-8c52-4425-b0b0-1e6ab999f439" providerId="ADAL" clId="{B2FE8AFA-1BF2-456C-B37B-49854641A3DC}" dt="2023-07-29T15:43:18.826" v="470" actId="20577"/>
        <pc:sldMkLst>
          <pc:docMk/>
          <pc:sldMk cId="2509107093" sldId="288"/>
        </pc:sldMkLst>
      </pc:sldChg>
      <pc:sldChg chg="del">
        <pc:chgData name="Birckelbaw, Carla" userId="89e5e359-8c52-4425-b0b0-1e6ab999f439" providerId="ADAL" clId="{B2FE8AFA-1BF2-456C-B37B-49854641A3DC}" dt="2023-07-28T20:23:50.660" v="281" actId="47"/>
        <pc:sldMkLst>
          <pc:docMk/>
          <pc:sldMk cId="2319889133" sldId="303"/>
        </pc:sldMkLst>
      </pc:sldChg>
      <pc:sldChg chg="modSp mod ord modNotesTx">
        <pc:chgData name="Birckelbaw, Carla" userId="89e5e359-8c52-4425-b0b0-1e6ab999f439" providerId="ADAL" clId="{B2FE8AFA-1BF2-456C-B37B-49854641A3DC}" dt="2023-07-28T20:23:48.401" v="280"/>
        <pc:sldMkLst>
          <pc:docMk/>
          <pc:sldMk cId="3678157439" sldId="305"/>
        </pc:sldMkLst>
        <pc:spChg chg="mod">
          <ac:chgData name="Birckelbaw, Carla" userId="89e5e359-8c52-4425-b0b0-1e6ab999f439" providerId="ADAL" clId="{B2FE8AFA-1BF2-456C-B37B-49854641A3DC}" dt="2023-07-28T20:23:18.897" v="193" actId="20577"/>
          <ac:spMkLst>
            <pc:docMk/>
            <pc:sldMk cId="3678157439" sldId="305"/>
            <ac:spMk id="2" creationId="{00000000-0000-0000-0000-000000000000}"/>
          </ac:spMkLst>
        </pc:spChg>
        <pc:spChg chg="mod">
          <ac:chgData name="Birckelbaw, Carla" userId="89e5e359-8c52-4425-b0b0-1e6ab999f439" providerId="ADAL" clId="{B2FE8AFA-1BF2-456C-B37B-49854641A3DC}" dt="2023-07-28T20:23:03.517" v="174" actId="20577"/>
          <ac:spMkLst>
            <pc:docMk/>
            <pc:sldMk cId="3678157439" sldId="305"/>
            <ac:spMk id="5" creationId="{EA3C1E3A-C1CE-4F61-B3E6-F072906FC8B7}"/>
          </ac:spMkLst>
        </pc:spChg>
      </pc:sldChg>
      <pc:sldChg chg="modNotesTx">
        <pc:chgData name="Birckelbaw, Carla" userId="89e5e359-8c52-4425-b0b0-1e6ab999f439" providerId="ADAL" clId="{B2FE8AFA-1BF2-456C-B37B-49854641A3DC}" dt="2023-07-29T15:44:32.956" v="605" actId="20577"/>
        <pc:sldMkLst>
          <pc:docMk/>
          <pc:sldMk cId="407245599" sldId="315"/>
        </pc:sldMkLst>
      </pc:sldChg>
      <pc:sldChg chg="addSp delSp modSp mod modNotesTx">
        <pc:chgData name="Birckelbaw, Carla" userId="89e5e359-8c52-4425-b0b0-1e6ab999f439" providerId="ADAL" clId="{B2FE8AFA-1BF2-456C-B37B-49854641A3DC}" dt="2023-07-29T15:44:48.969" v="637" actId="20577"/>
        <pc:sldMkLst>
          <pc:docMk/>
          <pc:sldMk cId="3043958436" sldId="321"/>
        </pc:sldMkLst>
        <pc:spChg chg="add del mod">
          <ac:chgData name="Birckelbaw, Carla" userId="89e5e359-8c52-4425-b0b0-1e6ab999f439" providerId="ADAL" clId="{B2FE8AFA-1BF2-456C-B37B-49854641A3DC}" dt="2023-07-28T20:13:10.629" v="41" actId="767"/>
          <ac:spMkLst>
            <pc:docMk/>
            <pc:sldMk cId="3043958436" sldId="321"/>
            <ac:spMk id="5" creationId="{71D19223-8612-F8BD-1842-515F1CDAAA22}"/>
          </ac:spMkLst>
        </pc:spChg>
        <pc:picChg chg="add del mod">
          <ac:chgData name="Birckelbaw, Carla" userId="89e5e359-8c52-4425-b0b0-1e6ab999f439" providerId="ADAL" clId="{B2FE8AFA-1BF2-456C-B37B-49854641A3DC}" dt="2023-07-28T20:11:42.724" v="36" actId="1076"/>
          <ac:picMkLst>
            <pc:docMk/>
            <pc:sldMk cId="3043958436" sldId="321"/>
            <ac:picMk id="4" creationId="{00000000-0000-0000-0000-000000000000}"/>
          </ac:picMkLst>
        </pc:picChg>
        <pc:picChg chg="add del mod">
          <ac:chgData name="Birckelbaw, Carla" userId="89e5e359-8c52-4425-b0b0-1e6ab999f439" providerId="ADAL" clId="{B2FE8AFA-1BF2-456C-B37B-49854641A3DC}" dt="2023-07-28T20:16:52.951" v="49" actId="478"/>
          <ac:picMkLst>
            <pc:docMk/>
            <pc:sldMk cId="3043958436" sldId="321"/>
            <ac:picMk id="7" creationId="{9B923321-D555-3E1D-0D80-10DCEA3C02EE}"/>
          </ac:picMkLst>
        </pc:picChg>
        <pc:picChg chg="add mod">
          <ac:chgData name="Birckelbaw, Carla" userId="89e5e359-8c52-4425-b0b0-1e6ab999f439" providerId="ADAL" clId="{B2FE8AFA-1BF2-456C-B37B-49854641A3DC}" dt="2023-07-28T20:21:46.969" v="56" actId="1076"/>
          <ac:picMkLst>
            <pc:docMk/>
            <pc:sldMk cId="3043958436" sldId="321"/>
            <ac:picMk id="9" creationId="{061B7992-B662-90CD-5649-EBAABD0036FF}"/>
          </ac:picMkLst>
        </pc:picChg>
        <pc:picChg chg="add del">
          <ac:chgData name="Birckelbaw, Carla" userId="89e5e359-8c52-4425-b0b0-1e6ab999f439" providerId="ADAL" clId="{B2FE8AFA-1BF2-456C-B37B-49854641A3DC}" dt="2023-07-28T20:07:02.662" v="4" actId="478"/>
          <ac:picMkLst>
            <pc:docMk/>
            <pc:sldMk cId="3043958436" sldId="321"/>
            <ac:picMk id="1026" creationId="{ED9F633E-1402-F330-4C88-8CE1827ACC62}"/>
          </ac:picMkLst>
        </pc:picChg>
        <pc:picChg chg="add del mod">
          <ac:chgData name="Birckelbaw, Carla" userId="89e5e359-8c52-4425-b0b0-1e6ab999f439" providerId="ADAL" clId="{B2FE8AFA-1BF2-456C-B37B-49854641A3DC}" dt="2023-07-28T20:09:26.134" v="25"/>
          <ac:picMkLst>
            <pc:docMk/>
            <pc:sldMk cId="3043958436" sldId="321"/>
            <ac:picMk id="1028" creationId="{291D167D-EE06-C407-F52A-CFF7D5CD8EEC}"/>
          </ac:picMkLst>
        </pc:picChg>
        <pc:picChg chg="add del mod">
          <ac:chgData name="Birckelbaw, Carla" userId="89e5e359-8c52-4425-b0b0-1e6ab999f439" providerId="ADAL" clId="{B2FE8AFA-1BF2-456C-B37B-49854641A3DC}" dt="2023-07-28T20:11:49.830" v="37"/>
          <ac:picMkLst>
            <pc:docMk/>
            <pc:sldMk cId="3043958436" sldId="321"/>
            <ac:picMk id="1030" creationId="{1595A9DA-F19B-EAB6-B00F-77B0ACD46723}"/>
          </ac:picMkLst>
        </pc:picChg>
        <pc:picChg chg="add del">
          <ac:chgData name="Birckelbaw, Carla" userId="89e5e359-8c52-4425-b0b0-1e6ab999f439" providerId="ADAL" clId="{B2FE8AFA-1BF2-456C-B37B-49854641A3DC}" dt="2023-07-28T20:13:09.275" v="40"/>
          <ac:picMkLst>
            <pc:docMk/>
            <pc:sldMk cId="3043958436" sldId="321"/>
            <ac:picMk id="1032" creationId="{EA4C70F3-C5CF-D217-DAB8-395F76E38094}"/>
          </ac:picMkLst>
        </pc:picChg>
        <pc:picChg chg="del">
          <ac:chgData name="Birckelbaw, Carla" userId="89e5e359-8c52-4425-b0b0-1e6ab999f439" providerId="ADAL" clId="{B2FE8AFA-1BF2-456C-B37B-49854641A3DC}" dt="2023-07-28T20:07:02.662" v="4" actId="478"/>
          <ac:picMkLst>
            <pc:docMk/>
            <pc:sldMk cId="3043958436" sldId="321"/>
            <ac:picMk id="2050" creationId="{9280F185-44D4-4919-950B-732A0FD74674}"/>
          </ac:picMkLst>
        </pc:picChg>
      </pc:sldChg>
      <pc:sldChg chg="addSp delSp modSp mod ord chgLayout">
        <pc:chgData name="Birckelbaw, Carla" userId="89e5e359-8c52-4425-b0b0-1e6ab999f439" providerId="ADAL" clId="{B2FE8AFA-1BF2-456C-B37B-49854641A3DC}" dt="2023-07-29T16:45:51.449" v="2748" actId="20577"/>
        <pc:sldMkLst>
          <pc:docMk/>
          <pc:sldMk cId="3397940117" sldId="327"/>
        </pc:sldMkLst>
        <pc:spChg chg="mod ord">
          <ac:chgData name="Birckelbaw, Carla" userId="89e5e359-8c52-4425-b0b0-1e6ab999f439" providerId="ADAL" clId="{B2FE8AFA-1BF2-456C-B37B-49854641A3DC}" dt="2023-07-29T16:42:28.837" v="2561" actId="700"/>
          <ac:spMkLst>
            <pc:docMk/>
            <pc:sldMk cId="3397940117" sldId="327"/>
            <ac:spMk id="2" creationId="{00000000-0000-0000-0000-000000000000}"/>
          </ac:spMkLst>
        </pc:spChg>
        <pc:spChg chg="add mod">
          <ac:chgData name="Birckelbaw, Carla" userId="89e5e359-8c52-4425-b0b0-1e6ab999f439" providerId="ADAL" clId="{B2FE8AFA-1BF2-456C-B37B-49854641A3DC}" dt="2023-07-29T15:46:38.124" v="700" actId="1076"/>
          <ac:spMkLst>
            <pc:docMk/>
            <pc:sldMk cId="3397940117" sldId="327"/>
            <ac:spMk id="3" creationId="{908D52BF-7772-2867-7C40-D9D8BA80A419}"/>
          </ac:spMkLst>
        </pc:spChg>
        <pc:spChg chg="add del mod">
          <ac:chgData name="Birckelbaw, Carla" userId="89e5e359-8c52-4425-b0b0-1e6ab999f439" providerId="ADAL" clId="{B2FE8AFA-1BF2-456C-B37B-49854641A3DC}" dt="2023-07-29T16:42:20.421" v="2558" actId="478"/>
          <ac:spMkLst>
            <pc:docMk/>
            <pc:sldMk cId="3397940117" sldId="327"/>
            <ac:spMk id="5" creationId="{28AF2CBD-FD31-B14C-ABB0-3D86B1A82FD6}"/>
          </ac:spMkLst>
        </pc:spChg>
        <pc:spChg chg="del mod">
          <ac:chgData name="Birckelbaw, Carla" userId="89e5e359-8c52-4425-b0b0-1e6ab999f439" providerId="ADAL" clId="{B2FE8AFA-1BF2-456C-B37B-49854641A3DC}" dt="2023-07-29T16:42:22.789" v="2560" actId="478"/>
          <ac:spMkLst>
            <pc:docMk/>
            <pc:sldMk cId="3397940117" sldId="327"/>
            <ac:spMk id="6" creationId="{5C52A9EE-D461-4DEF-8B67-48CE52A9E6BF}"/>
          </ac:spMkLst>
        </pc:spChg>
        <pc:spChg chg="del mod">
          <ac:chgData name="Birckelbaw, Carla" userId="89e5e359-8c52-4425-b0b0-1e6ab999f439" providerId="ADAL" clId="{B2FE8AFA-1BF2-456C-B37B-49854641A3DC}" dt="2023-07-29T15:46:10.401" v="671" actId="478"/>
          <ac:spMkLst>
            <pc:docMk/>
            <pc:sldMk cId="3397940117" sldId="327"/>
            <ac:spMk id="7" creationId="{DE9EFC4F-3F88-482B-9D99-9FDDDFD26E1B}"/>
          </ac:spMkLst>
        </pc:spChg>
        <pc:spChg chg="add mod ord">
          <ac:chgData name="Birckelbaw, Carla" userId="89e5e359-8c52-4425-b0b0-1e6ab999f439" providerId="ADAL" clId="{B2FE8AFA-1BF2-456C-B37B-49854641A3DC}" dt="2023-07-29T16:45:51.449" v="2748" actId="20577"/>
          <ac:spMkLst>
            <pc:docMk/>
            <pc:sldMk cId="3397940117" sldId="327"/>
            <ac:spMk id="8" creationId="{037ACB3E-D62B-5497-84A3-5C2C4ADD4979}"/>
          </ac:spMkLst>
        </pc:spChg>
        <pc:picChg chg="del">
          <ac:chgData name="Birckelbaw, Carla" userId="89e5e359-8c52-4425-b0b0-1e6ab999f439" providerId="ADAL" clId="{B2FE8AFA-1BF2-456C-B37B-49854641A3DC}" dt="2023-07-29T16:42:05.207" v="2557" actId="478"/>
          <ac:picMkLst>
            <pc:docMk/>
            <pc:sldMk cId="3397940117" sldId="327"/>
            <ac:picMk id="3074" creationId="{9D848E6D-207E-4BD6-90C6-5DD7B76CB859}"/>
          </ac:picMkLst>
        </pc:picChg>
      </pc:sldChg>
      <pc:sldChg chg="addSp modSp">
        <pc:chgData name="Birckelbaw, Carla" userId="89e5e359-8c52-4425-b0b0-1e6ab999f439" providerId="ADAL" clId="{B2FE8AFA-1BF2-456C-B37B-49854641A3DC}" dt="2023-07-29T15:42:13.989" v="364"/>
        <pc:sldMkLst>
          <pc:docMk/>
          <pc:sldMk cId="496580705" sldId="13060"/>
        </pc:sldMkLst>
        <pc:spChg chg="add mod">
          <ac:chgData name="Birckelbaw, Carla" userId="89e5e359-8c52-4425-b0b0-1e6ab999f439" providerId="ADAL" clId="{B2FE8AFA-1BF2-456C-B37B-49854641A3DC}" dt="2023-07-29T15:42:13.989" v="364"/>
          <ac:spMkLst>
            <pc:docMk/>
            <pc:sldMk cId="496580705" sldId="13060"/>
            <ac:spMk id="3" creationId="{BF9B6639-7461-83BC-E88A-59AE654F3352}"/>
          </ac:spMkLst>
        </pc:spChg>
      </pc:sldChg>
      <pc:sldChg chg="addSp modSp">
        <pc:chgData name="Birckelbaw, Carla" userId="89e5e359-8c52-4425-b0b0-1e6ab999f439" providerId="ADAL" clId="{B2FE8AFA-1BF2-456C-B37B-49854641A3DC}" dt="2023-07-29T15:42:16.863" v="365"/>
        <pc:sldMkLst>
          <pc:docMk/>
          <pc:sldMk cId="1842225834" sldId="2147375256"/>
        </pc:sldMkLst>
        <pc:spChg chg="add mod">
          <ac:chgData name="Birckelbaw, Carla" userId="89e5e359-8c52-4425-b0b0-1e6ab999f439" providerId="ADAL" clId="{B2FE8AFA-1BF2-456C-B37B-49854641A3DC}" dt="2023-07-29T15:42:16.863" v="365"/>
          <ac:spMkLst>
            <pc:docMk/>
            <pc:sldMk cId="1842225834" sldId="2147375256"/>
            <ac:spMk id="3" creationId="{0DFD479C-4529-34B2-F977-06F4C2AB778C}"/>
          </ac:spMkLst>
        </pc:spChg>
      </pc:sldChg>
      <pc:sldChg chg="addSp modSp">
        <pc:chgData name="Birckelbaw, Carla" userId="89e5e359-8c52-4425-b0b0-1e6ab999f439" providerId="ADAL" clId="{B2FE8AFA-1BF2-456C-B37B-49854641A3DC}" dt="2023-07-29T15:42:21.907" v="367"/>
        <pc:sldMkLst>
          <pc:docMk/>
          <pc:sldMk cId="3041727891" sldId="2147375261"/>
        </pc:sldMkLst>
        <pc:spChg chg="add mod">
          <ac:chgData name="Birckelbaw, Carla" userId="89e5e359-8c52-4425-b0b0-1e6ab999f439" providerId="ADAL" clId="{B2FE8AFA-1BF2-456C-B37B-49854641A3DC}" dt="2023-07-29T15:42:21.907" v="367"/>
          <ac:spMkLst>
            <pc:docMk/>
            <pc:sldMk cId="3041727891" sldId="2147375261"/>
            <ac:spMk id="2" creationId="{76BA5000-CBCD-7076-0609-ACC1CA4EB8DC}"/>
          </ac:spMkLst>
        </pc:spChg>
      </pc:sldChg>
      <pc:sldChg chg="addSp modSp">
        <pc:chgData name="Birckelbaw, Carla" userId="89e5e359-8c52-4425-b0b0-1e6ab999f439" providerId="ADAL" clId="{B2FE8AFA-1BF2-456C-B37B-49854641A3DC}" dt="2023-07-29T15:42:24.978" v="368"/>
        <pc:sldMkLst>
          <pc:docMk/>
          <pc:sldMk cId="3095471001" sldId="2147375507"/>
        </pc:sldMkLst>
        <pc:spChg chg="add mod">
          <ac:chgData name="Birckelbaw, Carla" userId="89e5e359-8c52-4425-b0b0-1e6ab999f439" providerId="ADAL" clId="{B2FE8AFA-1BF2-456C-B37B-49854641A3DC}" dt="2023-07-29T15:42:24.978" v="368"/>
          <ac:spMkLst>
            <pc:docMk/>
            <pc:sldMk cId="3095471001" sldId="2147375507"/>
            <ac:spMk id="2" creationId="{7A5EFC64-B9A6-5D24-48DA-EA74293DE058}"/>
          </ac:spMkLst>
        </pc:spChg>
      </pc:sldChg>
      <pc:sldChg chg="addSp modSp">
        <pc:chgData name="Birckelbaw, Carla" userId="89e5e359-8c52-4425-b0b0-1e6ab999f439" providerId="ADAL" clId="{B2FE8AFA-1BF2-456C-B37B-49854641A3DC}" dt="2023-07-29T15:42:12.105" v="363"/>
        <pc:sldMkLst>
          <pc:docMk/>
          <pc:sldMk cId="40228808" sldId="2147471485"/>
        </pc:sldMkLst>
        <pc:spChg chg="add mod">
          <ac:chgData name="Birckelbaw, Carla" userId="89e5e359-8c52-4425-b0b0-1e6ab999f439" providerId="ADAL" clId="{B2FE8AFA-1BF2-456C-B37B-49854641A3DC}" dt="2023-07-29T15:42:12.105" v="363"/>
          <ac:spMkLst>
            <pc:docMk/>
            <pc:sldMk cId="40228808" sldId="2147471485"/>
            <ac:spMk id="4" creationId="{557AE732-E246-A337-CB49-A9FB4364A901}"/>
          </ac:spMkLst>
        </pc:spChg>
      </pc:sldChg>
      <pc:sldChg chg="addSp modSp">
        <pc:chgData name="Birckelbaw, Carla" userId="89e5e359-8c52-4425-b0b0-1e6ab999f439" providerId="ADAL" clId="{B2FE8AFA-1BF2-456C-B37B-49854641A3DC}" dt="2023-07-29T15:42:19.093" v="366"/>
        <pc:sldMkLst>
          <pc:docMk/>
          <pc:sldMk cId="674073141" sldId="2147471560"/>
        </pc:sldMkLst>
        <pc:spChg chg="add mod">
          <ac:chgData name="Birckelbaw, Carla" userId="89e5e359-8c52-4425-b0b0-1e6ab999f439" providerId="ADAL" clId="{B2FE8AFA-1BF2-456C-B37B-49854641A3DC}" dt="2023-07-29T15:42:19.093" v="366"/>
          <ac:spMkLst>
            <pc:docMk/>
            <pc:sldMk cId="674073141" sldId="2147471560"/>
            <ac:spMk id="2" creationId="{90357FD2-2AF1-66C6-E6CB-4F99302AEE4B}"/>
          </ac:spMkLst>
        </pc:spChg>
      </pc:sldChg>
      <pc:sldChg chg="addSp modSp mod">
        <pc:chgData name="Birckelbaw, Carla" userId="89e5e359-8c52-4425-b0b0-1e6ab999f439" providerId="ADAL" clId="{B2FE8AFA-1BF2-456C-B37B-49854641A3DC}" dt="2023-07-29T15:42:04.593" v="362" actId="1076"/>
        <pc:sldMkLst>
          <pc:docMk/>
          <pc:sldMk cId="1116907510" sldId="2147471561"/>
        </pc:sldMkLst>
        <pc:spChg chg="add mod">
          <ac:chgData name="Birckelbaw, Carla" userId="89e5e359-8c52-4425-b0b0-1e6ab999f439" providerId="ADAL" clId="{B2FE8AFA-1BF2-456C-B37B-49854641A3DC}" dt="2023-07-29T15:42:04.593" v="362" actId="1076"/>
          <ac:spMkLst>
            <pc:docMk/>
            <pc:sldMk cId="1116907510" sldId="2147471561"/>
            <ac:spMk id="2" creationId="{D10FDB33-D778-9DAF-C83D-AFE31F7C3F4F}"/>
          </ac:spMkLst>
        </pc:spChg>
      </pc:sldChg>
      <pc:sldChg chg="addSp modSp mod">
        <pc:chgData name="Birckelbaw, Carla" userId="89e5e359-8c52-4425-b0b0-1e6ab999f439" providerId="ADAL" clId="{B2FE8AFA-1BF2-456C-B37B-49854641A3DC}" dt="2023-07-29T15:41:08.598" v="339" actId="1076"/>
        <pc:sldMkLst>
          <pc:docMk/>
          <pc:sldMk cId="517078889" sldId="2147471562"/>
        </pc:sldMkLst>
        <pc:spChg chg="mod">
          <ac:chgData name="Birckelbaw, Carla" userId="89e5e359-8c52-4425-b0b0-1e6ab999f439" providerId="ADAL" clId="{B2FE8AFA-1BF2-456C-B37B-49854641A3DC}" dt="2023-07-29T15:40:14.196" v="324" actId="20577"/>
          <ac:spMkLst>
            <pc:docMk/>
            <pc:sldMk cId="517078889" sldId="2147471562"/>
            <ac:spMk id="3" creationId="{00000000-0000-0000-0000-000000000000}"/>
          </ac:spMkLst>
        </pc:spChg>
        <pc:spChg chg="add mod">
          <ac:chgData name="Birckelbaw, Carla" userId="89e5e359-8c52-4425-b0b0-1e6ab999f439" providerId="ADAL" clId="{B2FE8AFA-1BF2-456C-B37B-49854641A3DC}" dt="2023-07-29T15:41:08.598" v="339" actId="1076"/>
          <ac:spMkLst>
            <pc:docMk/>
            <pc:sldMk cId="517078889" sldId="2147471562"/>
            <ac:spMk id="5" creationId="{3CF3C094-6ED6-FC65-EE1E-B2000692F5A6}"/>
          </ac:spMkLst>
        </pc:spChg>
      </pc:sldChg>
      <pc:sldChg chg="addSp modSp mod">
        <pc:chgData name="Birckelbaw, Carla" userId="89e5e359-8c52-4425-b0b0-1e6ab999f439" providerId="ADAL" clId="{B2FE8AFA-1BF2-456C-B37B-49854641A3DC}" dt="2023-07-29T15:45:43.727" v="652" actId="1076"/>
        <pc:sldMkLst>
          <pc:docMk/>
          <pc:sldMk cId="1115125321" sldId="2147471563"/>
        </pc:sldMkLst>
        <pc:spChg chg="add mod">
          <ac:chgData name="Birckelbaw, Carla" userId="89e5e359-8c52-4425-b0b0-1e6ab999f439" providerId="ADAL" clId="{B2FE8AFA-1BF2-456C-B37B-49854641A3DC}" dt="2023-07-29T15:45:43.727" v="652" actId="1076"/>
          <ac:spMkLst>
            <pc:docMk/>
            <pc:sldMk cId="1115125321" sldId="2147471563"/>
            <ac:spMk id="5" creationId="{EEB1A8E2-A497-756A-F219-28671DF4FA4B}"/>
          </ac:spMkLst>
        </pc:spChg>
      </pc:sldChg>
      <pc:sldChg chg="addSp modSp">
        <pc:chgData name="Birckelbaw, Carla" userId="89e5e359-8c52-4425-b0b0-1e6ab999f439" providerId="ADAL" clId="{B2FE8AFA-1BF2-456C-B37B-49854641A3DC}" dt="2023-07-29T15:45:47.555" v="654"/>
        <pc:sldMkLst>
          <pc:docMk/>
          <pc:sldMk cId="4259806314" sldId="2147471564"/>
        </pc:sldMkLst>
        <pc:spChg chg="add mod">
          <ac:chgData name="Birckelbaw, Carla" userId="89e5e359-8c52-4425-b0b0-1e6ab999f439" providerId="ADAL" clId="{B2FE8AFA-1BF2-456C-B37B-49854641A3DC}" dt="2023-07-29T15:45:47.555" v="654"/>
          <ac:spMkLst>
            <pc:docMk/>
            <pc:sldMk cId="4259806314" sldId="2147471564"/>
            <ac:spMk id="5" creationId="{655FC7F7-6269-B55C-A174-2312627B638E}"/>
          </ac:spMkLst>
        </pc:spChg>
      </pc:sldChg>
      <pc:sldChg chg="addSp modSp mod">
        <pc:chgData name="Birckelbaw, Carla" userId="89e5e359-8c52-4425-b0b0-1e6ab999f439" providerId="ADAL" clId="{B2FE8AFA-1BF2-456C-B37B-49854641A3DC}" dt="2023-07-29T15:42:37.772" v="382" actId="1076"/>
        <pc:sldMkLst>
          <pc:docMk/>
          <pc:sldMk cId="3047093318" sldId="2147471565"/>
        </pc:sldMkLst>
        <pc:spChg chg="add mod">
          <ac:chgData name="Birckelbaw, Carla" userId="89e5e359-8c52-4425-b0b0-1e6ab999f439" providerId="ADAL" clId="{B2FE8AFA-1BF2-456C-B37B-49854641A3DC}" dt="2023-07-29T15:42:37.772" v="382" actId="1076"/>
          <ac:spMkLst>
            <pc:docMk/>
            <pc:sldMk cId="3047093318" sldId="2147471565"/>
            <ac:spMk id="6" creationId="{ED99AD40-7350-6046-40DE-4FA9E426C1C6}"/>
          </ac:spMkLst>
        </pc:spChg>
      </pc:sldChg>
      <pc:sldChg chg="addSp modSp">
        <pc:chgData name="Birckelbaw, Carla" userId="89e5e359-8c52-4425-b0b0-1e6ab999f439" providerId="ADAL" clId="{B2FE8AFA-1BF2-456C-B37B-49854641A3DC}" dt="2023-07-29T15:42:42.496" v="384"/>
        <pc:sldMkLst>
          <pc:docMk/>
          <pc:sldMk cId="1633307616" sldId="2147471566"/>
        </pc:sldMkLst>
        <pc:spChg chg="add mod">
          <ac:chgData name="Birckelbaw, Carla" userId="89e5e359-8c52-4425-b0b0-1e6ab999f439" providerId="ADAL" clId="{B2FE8AFA-1BF2-456C-B37B-49854641A3DC}" dt="2023-07-29T15:42:42.496" v="384"/>
          <ac:spMkLst>
            <pc:docMk/>
            <pc:sldMk cId="1633307616" sldId="2147471566"/>
            <ac:spMk id="3" creationId="{0138296D-5B36-6639-CAB0-E6BFC43AF778}"/>
          </ac:spMkLst>
        </pc:spChg>
        <pc:spChg chg="mod">
          <ac:chgData name="Birckelbaw, Carla" userId="89e5e359-8c52-4425-b0b0-1e6ab999f439" providerId="ADAL" clId="{B2FE8AFA-1BF2-456C-B37B-49854641A3DC}" dt="2023-07-28T20:36:08.064" v="317" actId="20577"/>
          <ac:spMkLst>
            <pc:docMk/>
            <pc:sldMk cId="1633307616" sldId="2147471566"/>
            <ac:spMk id="17" creationId="{7316559D-CE3E-E91B-A9E0-7856ED7616FB}"/>
          </ac:spMkLst>
        </pc:spChg>
      </pc:sldChg>
      <pc:sldChg chg="addSp modSp">
        <pc:chgData name="Birckelbaw, Carla" userId="89e5e359-8c52-4425-b0b0-1e6ab999f439" providerId="ADAL" clId="{B2FE8AFA-1BF2-456C-B37B-49854641A3DC}" dt="2023-07-29T15:42:43.579" v="385"/>
        <pc:sldMkLst>
          <pc:docMk/>
          <pc:sldMk cId="905568074" sldId="2147471567"/>
        </pc:sldMkLst>
        <pc:spChg chg="add mod">
          <ac:chgData name="Birckelbaw, Carla" userId="89e5e359-8c52-4425-b0b0-1e6ab999f439" providerId="ADAL" clId="{B2FE8AFA-1BF2-456C-B37B-49854641A3DC}" dt="2023-07-29T15:42:43.579" v="385"/>
          <ac:spMkLst>
            <pc:docMk/>
            <pc:sldMk cId="905568074" sldId="2147471567"/>
            <ac:spMk id="5" creationId="{883E8E53-E9CB-ECCD-EFF7-E80871C33C59}"/>
          </ac:spMkLst>
        </pc:spChg>
      </pc:sldChg>
      <pc:sldChg chg="addSp modSp">
        <pc:chgData name="Birckelbaw, Carla" userId="89e5e359-8c52-4425-b0b0-1e6ab999f439" providerId="ADAL" clId="{B2FE8AFA-1BF2-456C-B37B-49854641A3DC}" dt="2023-07-29T15:46:53.093" v="715"/>
        <pc:sldMkLst>
          <pc:docMk/>
          <pc:sldMk cId="2320902698" sldId="2147471568"/>
        </pc:sldMkLst>
        <pc:spChg chg="add mod">
          <ac:chgData name="Birckelbaw, Carla" userId="89e5e359-8c52-4425-b0b0-1e6ab999f439" providerId="ADAL" clId="{B2FE8AFA-1BF2-456C-B37B-49854641A3DC}" dt="2023-07-29T15:46:53.093" v="715"/>
          <ac:spMkLst>
            <pc:docMk/>
            <pc:sldMk cId="2320902698" sldId="2147471568"/>
            <ac:spMk id="5" creationId="{9A66F613-274B-446F-54E0-3AB540C47496}"/>
          </ac:spMkLst>
        </pc:spChg>
      </pc:sldChg>
      <pc:sldChg chg="addSp modSp mod">
        <pc:chgData name="Birckelbaw, Carla" userId="89e5e359-8c52-4425-b0b0-1e6ab999f439" providerId="ADAL" clId="{B2FE8AFA-1BF2-456C-B37B-49854641A3DC}" dt="2023-07-29T15:46:01.425" v="669" actId="20577"/>
        <pc:sldMkLst>
          <pc:docMk/>
          <pc:sldMk cId="3965671181" sldId="2147471570"/>
        </pc:sldMkLst>
        <pc:spChg chg="add mod">
          <ac:chgData name="Birckelbaw, Carla" userId="89e5e359-8c52-4425-b0b0-1e6ab999f439" providerId="ADAL" clId="{B2FE8AFA-1BF2-456C-B37B-49854641A3DC}" dt="2023-07-29T15:46:01.425" v="669" actId="20577"/>
          <ac:spMkLst>
            <pc:docMk/>
            <pc:sldMk cId="3965671181" sldId="2147471570"/>
            <ac:spMk id="2" creationId="{721F817B-3F4C-CF2A-C28C-80BBCF7BEF74}"/>
          </ac:spMkLst>
        </pc:spChg>
      </pc:sldChg>
      <pc:sldChg chg="addSp modSp mod">
        <pc:chgData name="Birckelbaw, Carla" userId="89e5e359-8c52-4425-b0b0-1e6ab999f439" providerId="ADAL" clId="{B2FE8AFA-1BF2-456C-B37B-49854641A3DC}" dt="2023-07-29T15:46:50.071" v="714" actId="1076"/>
        <pc:sldMkLst>
          <pc:docMk/>
          <pc:sldMk cId="4084863288" sldId="2147471571"/>
        </pc:sldMkLst>
        <pc:spChg chg="add mod">
          <ac:chgData name="Birckelbaw, Carla" userId="89e5e359-8c52-4425-b0b0-1e6ab999f439" providerId="ADAL" clId="{B2FE8AFA-1BF2-456C-B37B-49854641A3DC}" dt="2023-07-29T15:46:50.071" v="714" actId="1076"/>
          <ac:spMkLst>
            <pc:docMk/>
            <pc:sldMk cId="4084863288" sldId="2147471571"/>
            <ac:spMk id="5" creationId="{57C24D4F-BD90-3A8F-9C70-1702213367E3}"/>
          </ac:spMkLst>
        </pc:spChg>
      </pc:sldChg>
      <pc:sldChg chg="addSp delSp modSp mod ord modAnim chgLayout modNotesTx">
        <pc:chgData name="Birckelbaw, Carla" userId="89e5e359-8c52-4425-b0b0-1e6ab999f439" providerId="ADAL" clId="{B2FE8AFA-1BF2-456C-B37B-49854641A3DC}" dt="2023-07-29T16:41:10.089" v="2556"/>
        <pc:sldMkLst>
          <pc:docMk/>
          <pc:sldMk cId="10877958" sldId="2147471572"/>
        </pc:sldMkLst>
        <pc:spChg chg="mod ord">
          <ac:chgData name="Birckelbaw, Carla" userId="89e5e359-8c52-4425-b0b0-1e6ab999f439" providerId="ADAL" clId="{B2FE8AFA-1BF2-456C-B37B-49854641A3DC}" dt="2023-07-29T16:16:46.318" v="2078" actId="20577"/>
          <ac:spMkLst>
            <pc:docMk/>
            <pc:sldMk cId="10877958" sldId="2147471572"/>
            <ac:spMk id="2" creationId="{00000000-0000-0000-0000-000000000000}"/>
          </ac:spMkLst>
        </pc:spChg>
        <pc:spChg chg="add del mod">
          <ac:chgData name="Birckelbaw, Carla" userId="89e5e359-8c52-4425-b0b0-1e6ab999f439" providerId="ADAL" clId="{B2FE8AFA-1BF2-456C-B37B-49854641A3DC}" dt="2023-07-29T16:05:24.559" v="730" actId="700"/>
          <ac:spMkLst>
            <pc:docMk/>
            <pc:sldMk cId="10877958" sldId="2147471572"/>
            <ac:spMk id="5" creationId="{3AAC19C9-21F4-3607-7054-EDC7293D4588}"/>
          </ac:spMkLst>
        </pc:spChg>
        <pc:spChg chg="del mod">
          <ac:chgData name="Birckelbaw, Carla" userId="89e5e359-8c52-4425-b0b0-1e6ab999f439" providerId="ADAL" clId="{B2FE8AFA-1BF2-456C-B37B-49854641A3DC}" dt="2023-07-29T16:05:42.577" v="744" actId="478"/>
          <ac:spMkLst>
            <pc:docMk/>
            <pc:sldMk cId="10877958" sldId="2147471572"/>
            <ac:spMk id="6" creationId="{5C52A9EE-D461-4DEF-8B67-48CE52A9E6BF}"/>
          </ac:spMkLst>
        </pc:spChg>
        <pc:spChg chg="add mod ord">
          <ac:chgData name="Birckelbaw, Carla" userId="89e5e359-8c52-4425-b0b0-1e6ab999f439" providerId="ADAL" clId="{B2FE8AFA-1BF2-456C-B37B-49854641A3DC}" dt="2023-07-29T16:40:26.280" v="2550" actId="167"/>
          <ac:spMkLst>
            <pc:docMk/>
            <pc:sldMk cId="10877958" sldId="2147471572"/>
            <ac:spMk id="7" creationId="{C35459E1-4C4E-B6DB-4EFE-337D35F2842E}"/>
          </ac:spMkLst>
        </pc:spChg>
        <pc:picChg chg="add mod">
          <ac:chgData name="Birckelbaw, Carla" userId="89e5e359-8c52-4425-b0b0-1e6ab999f439" providerId="ADAL" clId="{B2FE8AFA-1BF2-456C-B37B-49854641A3DC}" dt="2023-07-29T16:40:48.704" v="2554" actId="1076"/>
          <ac:picMkLst>
            <pc:docMk/>
            <pc:sldMk cId="10877958" sldId="2147471572"/>
            <ac:picMk id="2050" creationId="{5AA55665-3A54-EC80-B009-C4696E8C85DA}"/>
          </ac:picMkLst>
        </pc:picChg>
        <pc:picChg chg="del">
          <ac:chgData name="Birckelbaw, Carla" userId="89e5e359-8c52-4425-b0b0-1e6ab999f439" providerId="ADAL" clId="{B2FE8AFA-1BF2-456C-B37B-49854641A3DC}" dt="2023-07-29T16:04:56.959" v="729" actId="478"/>
          <ac:picMkLst>
            <pc:docMk/>
            <pc:sldMk cId="10877958" sldId="2147471572"/>
            <ac:picMk id="3074" creationId="{9D848E6D-207E-4BD6-90C6-5DD7B76CB859}"/>
          </ac:picMkLst>
        </pc:picChg>
      </pc:sldChg>
      <pc:sldChg chg="add del">
        <pc:chgData name="Birckelbaw, Carla" userId="89e5e359-8c52-4425-b0b0-1e6ab999f439" providerId="ADAL" clId="{B2FE8AFA-1BF2-456C-B37B-49854641A3DC}" dt="2023-07-29T15:46:32.703" v="699"/>
        <pc:sldMkLst>
          <pc:docMk/>
          <pc:sldMk cId="1061340468" sldId="2147471572"/>
        </pc:sldMkLst>
      </pc:sldChg>
      <pc:sldChg chg="modSp mod ord modNotesTx">
        <pc:chgData name="Birckelbaw, Carla" userId="89e5e359-8c52-4425-b0b0-1e6ab999f439" providerId="ADAL" clId="{B2FE8AFA-1BF2-456C-B37B-49854641A3DC}" dt="2023-07-29T16:20:38.121" v="2339" actId="20577"/>
        <pc:sldMkLst>
          <pc:docMk/>
          <pc:sldMk cId="2700475916" sldId="2147471573"/>
        </pc:sldMkLst>
        <pc:spChg chg="mod">
          <ac:chgData name="Birckelbaw, Carla" userId="89e5e359-8c52-4425-b0b0-1e6ab999f439" providerId="ADAL" clId="{B2FE8AFA-1BF2-456C-B37B-49854641A3DC}" dt="2023-07-29T16:15:52.731" v="2034" actId="1076"/>
          <ac:spMkLst>
            <pc:docMk/>
            <pc:sldMk cId="2700475916" sldId="2147471573"/>
            <ac:spMk id="2" creationId="{00000000-0000-0000-0000-000000000000}"/>
          </ac:spMkLst>
        </pc:spChg>
        <pc:spChg chg="mod">
          <ac:chgData name="Birckelbaw, Carla" userId="89e5e359-8c52-4425-b0b0-1e6ab999f439" providerId="ADAL" clId="{B2FE8AFA-1BF2-456C-B37B-49854641A3DC}" dt="2023-07-29T16:18:18.936" v="2087" actId="20577"/>
          <ac:spMkLst>
            <pc:docMk/>
            <pc:sldMk cId="2700475916" sldId="2147471573"/>
            <ac:spMk id="7" creationId="{C35459E1-4C4E-B6DB-4EFE-337D35F2842E}"/>
          </ac:spMkLst>
        </pc:spChg>
      </pc:sldChg>
      <pc:sldChg chg="modSp add mod modAnim modNotesTx">
        <pc:chgData name="Birckelbaw, Carla" userId="89e5e359-8c52-4425-b0b0-1e6ab999f439" providerId="ADAL" clId="{B2FE8AFA-1BF2-456C-B37B-49854641A3DC}" dt="2023-07-29T19:17:17.121" v="2835" actId="20577"/>
        <pc:sldMkLst>
          <pc:docMk/>
          <pc:sldMk cId="2453938204" sldId="2147471574"/>
        </pc:sldMkLst>
        <pc:spChg chg="mod">
          <ac:chgData name="Birckelbaw, Carla" userId="89e5e359-8c52-4425-b0b0-1e6ab999f439" providerId="ADAL" clId="{B2FE8AFA-1BF2-456C-B37B-49854641A3DC}" dt="2023-07-29T19:16:03.254" v="2787" actId="27636"/>
          <ac:spMkLst>
            <pc:docMk/>
            <pc:sldMk cId="2453938204" sldId="2147471574"/>
            <ac:spMk id="2" creationId="{00000000-0000-0000-0000-000000000000}"/>
          </ac:spMkLst>
        </pc:spChg>
        <pc:spChg chg="mod">
          <ac:chgData name="Birckelbaw, Carla" userId="89e5e359-8c52-4425-b0b0-1e6ab999f439" providerId="ADAL" clId="{B2FE8AFA-1BF2-456C-B37B-49854641A3DC}" dt="2023-07-29T19:16:45.758" v="2833" actId="122"/>
          <ac:spMkLst>
            <pc:docMk/>
            <pc:sldMk cId="2453938204" sldId="2147471574"/>
            <ac:spMk id="3" creationId="{00000000-0000-0000-0000-000000000000}"/>
          </ac:spMkLst>
        </pc:spChg>
      </pc:sldChg>
      <pc:sldChg chg="new del">
        <pc:chgData name="Birckelbaw, Carla" userId="89e5e359-8c52-4425-b0b0-1e6ab999f439" providerId="ADAL" clId="{B2FE8AFA-1BF2-456C-B37B-49854641A3DC}" dt="2023-07-29T19:15:52.765" v="2750" actId="47"/>
        <pc:sldMkLst>
          <pc:docMk/>
          <pc:sldMk cId="3718784600" sldId="2147471574"/>
        </pc:sldMkLst>
      </pc:sldChg>
      <pc:sldChg chg="modSp add del mod">
        <pc:chgData name="Birckelbaw, Carla" userId="89e5e359-8c52-4425-b0b0-1e6ab999f439" providerId="ADAL" clId="{B2FE8AFA-1BF2-456C-B37B-49854641A3DC}" dt="2023-07-31T18:38:22.788" v="2863" actId="2696"/>
        <pc:sldMkLst>
          <pc:docMk/>
          <pc:sldMk cId="1920599111" sldId="2147471575"/>
        </pc:sldMkLst>
        <pc:spChg chg="mod">
          <ac:chgData name="Birckelbaw, Carla" userId="89e5e359-8c52-4425-b0b0-1e6ab999f439" providerId="ADAL" clId="{B2FE8AFA-1BF2-456C-B37B-49854641A3DC}" dt="2023-07-30T21:08:59.069" v="2849" actId="20577"/>
          <ac:spMkLst>
            <pc:docMk/>
            <pc:sldMk cId="1920599111" sldId="2147471575"/>
            <ac:spMk id="2" creationId="{00000000-0000-0000-0000-000000000000}"/>
          </ac:spMkLst>
        </pc:spChg>
        <pc:spChg chg="mod">
          <ac:chgData name="Birckelbaw, Carla" userId="89e5e359-8c52-4425-b0b0-1e6ab999f439" providerId="ADAL" clId="{B2FE8AFA-1BF2-456C-B37B-49854641A3DC}" dt="2023-07-30T21:09:10.059" v="2860" actId="1076"/>
          <ac:spMkLst>
            <pc:docMk/>
            <pc:sldMk cId="1920599111" sldId="2147471575"/>
            <ac:spMk id="3" creationId="{908D52BF-7772-2867-7C40-D9D8BA80A419}"/>
          </ac:spMkLst>
        </pc:spChg>
        <pc:spChg chg="mod">
          <ac:chgData name="Birckelbaw, Carla" userId="89e5e359-8c52-4425-b0b0-1e6ab999f439" providerId="ADAL" clId="{B2FE8AFA-1BF2-456C-B37B-49854641A3DC}" dt="2023-07-30T21:09:02.498" v="2850" actId="20577"/>
          <ac:spMkLst>
            <pc:docMk/>
            <pc:sldMk cId="1920599111" sldId="2147471575"/>
            <ac:spMk id="8" creationId="{037ACB3E-D62B-5497-84A3-5C2C4ADD4979}"/>
          </ac:spMkLst>
        </pc:spChg>
      </pc:sldChg>
      <pc:sldChg chg="add del">
        <pc:chgData name="Birckelbaw, Carla" userId="89e5e359-8c52-4425-b0b0-1e6ab999f439" providerId="ADAL" clId="{B2FE8AFA-1BF2-456C-B37B-49854641A3DC}" dt="2023-07-31T18:38:19.252" v="2862" actId="2696"/>
        <pc:sldMkLst>
          <pc:docMk/>
          <pc:sldMk cId="1947855133" sldId="2147471576"/>
        </pc:sldMkLst>
      </pc:sldChg>
      <pc:sldChg chg="addSp modSp add mod">
        <pc:chgData name="Birckelbaw, Carla" userId="89e5e359-8c52-4425-b0b0-1e6ab999f439" providerId="ADAL" clId="{B2FE8AFA-1BF2-456C-B37B-49854641A3DC}" dt="2023-07-31T18:39:27.912" v="2874" actId="20577"/>
        <pc:sldMkLst>
          <pc:docMk/>
          <pc:sldMk cId="3326480688" sldId="2147471577"/>
        </pc:sldMkLst>
        <pc:spChg chg="add mod">
          <ac:chgData name="Birckelbaw, Carla" userId="89e5e359-8c52-4425-b0b0-1e6ab999f439" providerId="ADAL" clId="{B2FE8AFA-1BF2-456C-B37B-49854641A3DC}" dt="2023-07-31T18:39:27.912" v="2874" actId="20577"/>
          <ac:spMkLst>
            <pc:docMk/>
            <pc:sldMk cId="3326480688" sldId="2147471577"/>
            <ac:spMk id="3" creationId="{1A4FC04E-B527-D909-8F36-240495732ED0}"/>
          </ac:spMkLst>
        </pc:spChg>
      </pc:sldChg>
      <pc:sldChg chg="addSp modSp add">
        <pc:chgData name="Birckelbaw, Carla" userId="89e5e359-8c52-4425-b0b0-1e6ab999f439" providerId="ADAL" clId="{B2FE8AFA-1BF2-456C-B37B-49854641A3DC}" dt="2023-07-31T18:39:36.527" v="2876"/>
        <pc:sldMkLst>
          <pc:docMk/>
          <pc:sldMk cId="1405200852" sldId="2147471578"/>
        </pc:sldMkLst>
        <pc:spChg chg="add mod">
          <ac:chgData name="Birckelbaw, Carla" userId="89e5e359-8c52-4425-b0b0-1e6ab999f439" providerId="ADAL" clId="{B2FE8AFA-1BF2-456C-B37B-49854641A3DC}" dt="2023-07-31T18:39:36.527" v="2876"/>
          <ac:spMkLst>
            <pc:docMk/>
            <pc:sldMk cId="1405200852" sldId="2147471578"/>
            <ac:spMk id="2" creationId="{E5AB1EB4-3181-CC22-604F-ED1F45F1E82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356C8B-6C39-46EF-8810-F3E61C522C48}" type="datetimeFigureOut">
              <a:rPr lang="en-US" smtClean="0"/>
              <a:t>8/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D8CEAC-B183-4F61-9ACB-253D235719CA}" type="slidenum">
              <a:rPr lang="en-US" smtClean="0"/>
              <a:t>‹#›</a:t>
            </a:fld>
            <a:endParaRPr lang="en-US"/>
          </a:p>
        </p:txBody>
      </p:sp>
    </p:spTree>
    <p:extLst>
      <p:ext uri="{BB962C8B-B14F-4D97-AF65-F5344CB8AC3E}">
        <p14:creationId xmlns:p14="http://schemas.microsoft.com/office/powerpoint/2010/main" val="1172017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docs.illinoisstate.edu/display/MCNIT/MCN-IT+Home" TargetMode="External"/><Relationship Id="rId3" Type="http://schemas.openxmlformats.org/officeDocument/2006/relationships/hyperlink" Target="https://docs.illinoisstate.edu/display/CASIT/CAS-IT+Home" TargetMode="External"/><Relationship Id="rId7" Type="http://schemas.openxmlformats.org/officeDocument/2006/relationships/hyperlink" Target="https://docs.illinoisstate.edu/display/COEIT/COE-IT+Home"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docs.illinoisstate.edu/display/COBIT/COB-IT+Home" TargetMode="External"/><Relationship Id="rId5" Type="http://schemas.openxmlformats.org/officeDocument/2006/relationships/hyperlink" Target="https://docs.illinoisstate.edu/display/CFAIT/CFA-IT+Home" TargetMode="External"/><Relationship Id="rId4" Type="http://schemas.openxmlformats.org/officeDocument/2006/relationships/hyperlink" Target="https://docs.illinoisstate.edu/pages/viewpage.action?pageId=95027703" TargetMode="External"/><Relationship Id="rId9" Type="http://schemas.openxmlformats.org/officeDocument/2006/relationships/hyperlink" Target="https://docs.illinoisstate.edu/display/SAIT/SAIT+Home" TargetMode="External"/></Relationships>
</file>

<file path=ppt/notesSlides/_rels/notesSlide17.xml.rels><?xml version="1.0" encoding="UTF-8" standalone="yes"?>
<Relationships xmlns="http://schemas.openxmlformats.org/package/2006/relationships"><Relationship Id="rId8" Type="http://schemas.openxmlformats.org/officeDocument/2006/relationships/hyperlink" Target="https://docs.illinoisstate.edu/display/MCNIT/MCN-IT+Home" TargetMode="External"/><Relationship Id="rId3" Type="http://schemas.openxmlformats.org/officeDocument/2006/relationships/hyperlink" Target="https://docs.illinoisstate.edu/display/CASIT/CAS-IT+Home" TargetMode="External"/><Relationship Id="rId7" Type="http://schemas.openxmlformats.org/officeDocument/2006/relationships/hyperlink" Target="https://docs.illinoisstate.edu/display/COEIT/COE-IT+Home"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docs.illinoisstate.edu/display/COBIT/COB-IT+Home" TargetMode="External"/><Relationship Id="rId5" Type="http://schemas.openxmlformats.org/officeDocument/2006/relationships/hyperlink" Target="https://docs.illinoisstate.edu/display/CFAIT/CFA-IT+Home" TargetMode="External"/><Relationship Id="rId4" Type="http://schemas.openxmlformats.org/officeDocument/2006/relationships/hyperlink" Target="https://docs.illinoisstate.edu/pages/viewpage.action?pageId=95027703" TargetMode="External"/><Relationship Id="rId9" Type="http://schemas.openxmlformats.org/officeDocument/2006/relationships/hyperlink" Target="https://docs.illinoisstate.edu/display/SAIT/SAIT+Home"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2</a:t>
            </a:fld>
            <a:endParaRPr lang="en-US"/>
          </a:p>
        </p:txBody>
      </p:sp>
    </p:spTree>
    <p:extLst>
      <p:ext uri="{BB962C8B-B14F-4D97-AF65-F5344CB8AC3E}">
        <p14:creationId xmlns:p14="http://schemas.microsoft.com/office/powerpoint/2010/main" val="6731098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626" name="Rectangle 2"/>
          <p:cNvSpPr>
            <a:spLocks noGrp="1" noRot="1" noChangeAspect="1" noChangeArrowheads="1" noTextEdit="1"/>
          </p:cNvSpPr>
          <p:nvPr>
            <p:ph type="sldImg"/>
          </p:nvPr>
        </p:nvSpPr>
        <p:spPr>
          <a:xfrm>
            <a:off x="338138" y="1765300"/>
            <a:ext cx="6642100" cy="3735388"/>
          </a:xfrm>
          <a:ln/>
        </p:spPr>
      </p:sp>
      <p:sp>
        <p:nvSpPr>
          <p:cNvPr id="794627" name="Rectangle 3"/>
          <p:cNvSpPr>
            <a:spLocks noGrp="1" noChangeArrowheads="1"/>
          </p:cNvSpPr>
          <p:nvPr>
            <p:ph type="body" idx="1"/>
          </p:nvPr>
        </p:nvSpPr>
        <p:spPr/>
        <p:txBody>
          <a:bodyPr/>
          <a:lstStyle/>
          <a:p>
            <a:pPr marL="158591" defTabSz="914378">
              <a:buClr>
                <a:srgbClr val="000000"/>
              </a:buClr>
              <a:buSzPts val="1100"/>
              <a:defRPr/>
            </a:pPr>
            <a:r>
              <a:rPr lang="en-US" sz="1200" kern="0" dirty="0">
                <a:solidFill>
                  <a:srgbClr val="000000"/>
                </a:solidFill>
                <a:latin typeface="Arial"/>
                <a:cs typeface="Arial"/>
                <a:sym typeface="Arial"/>
              </a:rPr>
              <a:t>With GTP, your technical domain architects will have what they need at their fingertips to deliver on your strategy – which will in turn, deliver value across the organization. </a:t>
            </a:r>
          </a:p>
          <a:p>
            <a:pPr marL="158591" defTabSz="914378">
              <a:buClr>
                <a:srgbClr val="000000"/>
              </a:buClr>
              <a:buSzPts val="1100"/>
              <a:defRPr/>
            </a:pPr>
            <a:endParaRPr lang="en-US" sz="1200" kern="0" dirty="0">
              <a:solidFill>
                <a:srgbClr val="000000"/>
              </a:solidFill>
              <a:latin typeface="Arial"/>
              <a:cs typeface="Arial"/>
              <a:sym typeface="Arial"/>
            </a:endParaRPr>
          </a:p>
          <a:p>
            <a:pPr marL="158591" defTabSz="914378">
              <a:buClr>
                <a:srgbClr val="000000"/>
              </a:buClr>
              <a:buSzPts val="1100"/>
              <a:defRPr/>
            </a:pPr>
            <a:r>
              <a:rPr lang="en-US" sz="1200" kern="0" dirty="0">
                <a:solidFill>
                  <a:srgbClr val="000000"/>
                </a:solidFill>
                <a:latin typeface="Arial"/>
                <a:cs typeface="Arial"/>
                <a:sym typeface="Arial"/>
              </a:rPr>
              <a:t>Significantly reduce time and increase productivity by having the frameworks and tools for developing approaches all in one place. </a:t>
            </a:r>
          </a:p>
          <a:p>
            <a:pPr marL="158591" defTabSz="914378">
              <a:buClr>
                <a:srgbClr val="000000"/>
              </a:buClr>
              <a:buSzPts val="1100"/>
              <a:defRPr/>
            </a:pPr>
            <a:endParaRPr lang="en-US" sz="1200" kern="0" dirty="0">
              <a:solidFill>
                <a:srgbClr val="000000"/>
              </a:solidFill>
              <a:latin typeface="Arial"/>
              <a:cs typeface="Arial"/>
              <a:sym typeface="Arial"/>
            </a:endParaRPr>
          </a:p>
          <a:p>
            <a:pPr marL="158591" defTabSz="914378">
              <a:buClr>
                <a:srgbClr val="000000"/>
              </a:buClr>
              <a:buSzPts val="1100"/>
              <a:defRPr/>
            </a:pPr>
            <a:r>
              <a:rPr lang="en-US" sz="1200" kern="0" dirty="0">
                <a:solidFill>
                  <a:srgbClr val="000000"/>
                </a:solidFill>
                <a:latin typeface="Arial"/>
                <a:cs typeface="Arial"/>
                <a:sym typeface="Arial"/>
              </a:rPr>
              <a:t>Avoid costly architecture decisions or partner scope creep that you may have with a vendor. </a:t>
            </a:r>
          </a:p>
          <a:p>
            <a:pPr marL="158591" defTabSz="914378">
              <a:buClr>
                <a:srgbClr val="000000"/>
              </a:buClr>
              <a:buSzPts val="1100"/>
              <a:defRPr/>
            </a:pPr>
            <a:endParaRPr lang="en-US" sz="1200" kern="0" dirty="0">
              <a:solidFill>
                <a:srgbClr val="000000"/>
              </a:solidFill>
              <a:latin typeface="Arial"/>
              <a:cs typeface="Arial"/>
              <a:sym typeface="Arial"/>
            </a:endParaRPr>
          </a:p>
          <a:p>
            <a:pPr marL="158591" defTabSz="914378">
              <a:buClr>
                <a:srgbClr val="000000"/>
              </a:buClr>
              <a:buSzPts val="1100"/>
              <a:defRPr/>
            </a:pPr>
            <a:r>
              <a:rPr lang="en-US" sz="1200" kern="0" dirty="0">
                <a:solidFill>
                  <a:srgbClr val="000000"/>
                </a:solidFill>
                <a:latin typeface="Arial"/>
                <a:cs typeface="Arial"/>
                <a:sym typeface="Arial"/>
              </a:rPr>
              <a:t>And fill in any skill gaps through the actionable “how-to” technical guidance provided within GTP. </a:t>
            </a:r>
          </a:p>
          <a:p>
            <a:pPr marL="158591" defTabSz="914378">
              <a:buClr>
                <a:srgbClr val="000000"/>
              </a:buClr>
              <a:buSzPts val="1100"/>
              <a:defRPr/>
            </a:pPr>
            <a:endParaRPr lang="en-US" sz="1200" kern="0" dirty="0">
              <a:solidFill>
                <a:srgbClr val="000000"/>
              </a:solidFill>
              <a:latin typeface="Arial"/>
              <a:cs typeface="Arial"/>
              <a:sym typeface="Arial"/>
            </a:endParaRPr>
          </a:p>
          <a:p>
            <a:pPr marL="158591" defTabSz="914378">
              <a:buClr>
                <a:srgbClr val="000000"/>
              </a:buClr>
              <a:buSzPts val="1100"/>
              <a:defRPr/>
            </a:pPr>
            <a:r>
              <a:rPr lang="en-US" sz="1200" kern="0" dirty="0">
                <a:solidFill>
                  <a:srgbClr val="000000"/>
                </a:solidFill>
                <a:latin typeface="Arial"/>
                <a:cs typeface="Arial"/>
                <a:sym typeface="Arial"/>
              </a:rPr>
              <a:t>Your team will have the confidence to implement and execute. </a:t>
            </a:r>
          </a:p>
          <a:p>
            <a:endParaRPr lang="en-US" dirty="0"/>
          </a:p>
        </p:txBody>
      </p:sp>
    </p:spTree>
    <p:extLst>
      <p:ext uri="{BB962C8B-B14F-4D97-AF65-F5344CB8AC3E}">
        <p14:creationId xmlns:p14="http://schemas.microsoft.com/office/powerpoint/2010/main" val="198812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Gartner for Tech Professionals answers the most pressing questions top of mind for technical domain architects across infrastructure, security, data analytics and software. </a:t>
            </a:r>
            <a:endParaRPr lang="en-US" sz="1200" dirty="0"/>
          </a:p>
          <a:p>
            <a:endParaRPr lang="en-US" dirty="0"/>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39E88C-6A05-994B-BEFF-BEFB8AF2C5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114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noRot="1" noChangeAspect="1" noChangeArrowheads="1" noTextEdit="1"/>
          </p:cNvSpPr>
          <p:nvPr>
            <p:ph type="sldImg"/>
          </p:nvPr>
        </p:nvSpPr>
        <p:spPr>
          <a:xfrm>
            <a:off x="304800" y="1725613"/>
            <a:ext cx="6492875" cy="3652837"/>
          </a:xfrm>
          <a:ln/>
        </p:spPr>
      </p:sp>
      <p:sp>
        <p:nvSpPr>
          <p:cNvPr id="406531" name="Rectangle 3"/>
          <p:cNvSpPr>
            <a:spLocks noGrp="1" noChangeArrowheads="1"/>
          </p:cNvSpPr>
          <p:nvPr>
            <p:ph type="body" idx="1"/>
          </p:nvPr>
        </p:nvSpPr>
        <p:spPr/>
        <p:txBody>
          <a:bodyPr/>
          <a:lstStyle/>
          <a:p>
            <a:pPr marL="0" marR="0" lvl="0" indent="0" algn="l" defTabSz="914400" rtl="0" eaLnBrk="1" fontAlgn="auto" latinLnBrk="0" hangingPunct="1">
              <a:lnSpc>
                <a:spcPct val="65000"/>
              </a:lnSpc>
              <a:spcBef>
                <a:spcPts val="0"/>
              </a:spcBef>
              <a:spcAft>
                <a:spcPts val="0"/>
              </a:spcAft>
              <a:buClrTx/>
              <a:buSzTx/>
              <a:buFontTx/>
              <a:buNone/>
              <a:tabLst/>
              <a:defRPr/>
            </a:pPr>
            <a:r>
              <a:rPr lang="en-US" sz="800" dirty="0">
                <a:solidFill>
                  <a:prstClr val="black"/>
                </a:solidFill>
                <a:ea typeface="Calibri" panose="020F0502020204030204" pitchFamily="34" charset="0"/>
              </a:rPr>
              <a:t>Now let’s dive a bit deeper into the types of technical content that your technical domain architects will have access to. Content is aligned to all phases of your initiative so there are Planning Guides, Single assessments, Reference Architecture, Evaluation Criteria and more. All detailed and actionable technical insights to ensure your team is set up for success. </a:t>
            </a:r>
          </a:p>
          <a:p>
            <a:pPr>
              <a:lnSpc>
                <a:spcPct val="65000"/>
              </a:lnSpc>
            </a:pPr>
            <a:endParaRPr lang="en-US" sz="800" dirty="0"/>
          </a:p>
        </p:txBody>
      </p:sp>
    </p:spTree>
    <p:extLst>
      <p:ext uri="{BB962C8B-B14F-4D97-AF65-F5344CB8AC3E}">
        <p14:creationId xmlns:p14="http://schemas.microsoft.com/office/powerpoint/2010/main" val="494383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333500" y="658813"/>
            <a:ext cx="4191000" cy="2357437"/>
          </a:xfrm>
        </p:spPr>
      </p:sp>
      <p:sp>
        <p:nvSpPr>
          <p:cNvPr id="3" name="Plassholder for notater 2"/>
          <p:cNvSpPr>
            <a:spLocks noGrp="1"/>
          </p:cNvSpPr>
          <p:nvPr>
            <p:ph type="body" idx="1"/>
          </p:nvPr>
        </p:nvSpPr>
        <p:spPr/>
        <p:txBody>
          <a:bodyPr/>
          <a:lstStyle/>
          <a:p>
            <a:pPr defTabSz="342900">
              <a:spcBef>
                <a:spcPts val="450"/>
              </a:spcBef>
              <a:defRPr/>
            </a:pPr>
            <a:r>
              <a:rPr lang="en-US" sz="1200" dirty="0">
                <a:solidFill>
                  <a:prstClr val="black"/>
                </a:solidFill>
                <a:latin typeface="Arial" panose="020B0604020202020204"/>
              </a:rPr>
              <a:t>When you look at the deep coverage included in GTP, what areas are your teams focused on today? </a:t>
            </a:r>
          </a:p>
          <a:p>
            <a:pPr defTabSz="342900">
              <a:spcBef>
                <a:spcPts val="450"/>
              </a:spcBef>
              <a:defRPr/>
            </a:pPr>
            <a:r>
              <a:rPr lang="en-US" sz="1200" i="1" dirty="0">
                <a:solidFill>
                  <a:prstClr val="black"/>
                </a:solidFill>
                <a:latin typeface="Arial" panose="020B0604020202020204"/>
              </a:rPr>
              <a:t>(Client picks a couple of areas)</a:t>
            </a:r>
          </a:p>
          <a:p>
            <a:pPr defTabSz="342900">
              <a:spcBef>
                <a:spcPts val="450"/>
              </a:spcBef>
              <a:defRPr/>
            </a:pPr>
            <a:r>
              <a:rPr lang="en-US" sz="1200" dirty="0">
                <a:solidFill>
                  <a:prstClr val="black"/>
                </a:solidFill>
                <a:latin typeface="Arial" panose="020B0604020202020204"/>
              </a:rPr>
              <a:t>That is great to hear, we have insights and experts to help you in these areas. </a:t>
            </a:r>
            <a:r>
              <a:rPr lang="en-US" sz="1200" dirty="0">
                <a:solidFill>
                  <a:prstClr val="black"/>
                </a:solidFill>
                <a:latin typeface="Arial" panose="020B0604020202020204"/>
                <a:cs typeface="Arial"/>
              </a:rPr>
              <a:t>Would you be interested in learning more?  If so, I'll connect with my Technical Specialist and we can determine our next best steps.</a:t>
            </a:r>
            <a:endParaRPr lang="en-US" sz="1200" dirty="0">
              <a:solidFill>
                <a:prstClr val="black"/>
              </a:solidFill>
              <a:latin typeface="Arial" panose="020B0604020202020204"/>
            </a:endParaRPr>
          </a:p>
          <a:p>
            <a:endParaRPr lang="en-US" dirty="0"/>
          </a:p>
        </p:txBody>
      </p:sp>
      <p:sp>
        <p:nvSpPr>
          <p:cNvPr id="4" name="Plassholder for lysbildenumm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C01D7C0-F9B6-44D4-B5C5-74B3548021C2}" type="slidenum">
              <a:rPr kumimoji="0" lang="en-US"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932367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pPr defTabSz="685783">
              <a:defRPr/>
            </a:pPr>
            <a:r>
              <a:rPr lang="en-US" sz="1200" dirty="0">
                <a:solidFill>
                  <a:prstClr val="black"/>
                </a:solidFill>
                <a:ea typeface="Calibri" panose="020F0502020204030204" pitchFamily="34" charset="0"/>
              </a:rPr>
              <a:t>Newly launched, our Reference Architecture Resource Center allows your technical domain architects to find the right blueprint for their organization. </a:t>
            </a:r>
          </a:p>
          <a:p>
            <a:pPr defTabSz="685783">
              <a:defRPr/>
            </a:pPr>
            <a:endParaRPr lang="en-US" sz="1200" dirty="0">
              <a:solidFill>
                <a:prstClr val="black"/>
              </a:solidFill>
            </a:endParaRPr>
          </a:p>
          <a:p>
            <a:pPr defTabSz="685783">
              <a:defRPr/>
            </a:pPr>
            <a:r>
              <a:rPr lang="en-US" sz="1200" dirty="0">
                <a:solidFill>
                  <a:prstClr val="black"/>
                </a:solidFill>
              </a:rPr>
              <a:t>Informed by Gartner’s rigorous research approach and client interactions, your team can access reference architectures across multiple use-cases and capabilities. This is intended to be a starting point as you create an architecture that is specific to your environment. And finally, once you are ready, you can validate with a Gartner expert. </a:t>
            </a:r>
            <a:endParaRPr lang="en-US" sz="1200" dirty="0"/>
          </a:p>
          <a:p>
            <a:endParaRPr lang="en-US" dirty="0"/>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39E88C-6A05-994B-BEFF-BEFB8AF2C5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034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16</a:t>
            </a:fld>
            <a:endParaRPr lang="en-US"/>
          </a:p>
        </p:txBody>
      </p:sp>
    </p:spTree>
    <p:extLst>
      <p:ext uri="{BB962C8B-B14F-4D97-AF65-F5344CB8AC3E}">
        <p14:creationId xmlns:p14="http://schemas.microsoft.com/office/powerpoint/2010/main" val="39679684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rtl="0" fontAlgn="t">
              <a:spcBef>
                <a:spcPts val="0"/>
              </a:spcBef>
              <a:spcAft>
                <a:spcPts val="0"/>
              </a:spcAft>
            </a:pPr>
            <a:r>
              <a:rPr lang="en-US" sz="1800" dirty="0">
                <a:effectLst/>
                <a:latin typeface="-apple-system"/>
                <a:hlinkClick r:id="rId3"/>
              </a:rPr>
              <a:t>CAS-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4"/>
              </a:rPr>
              <a:t>CAST-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5"/>
              </a:rPr>
              <a:t>CFA-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6"/>
              </a:rPr>
              <a:t>COB-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7"/>
              </a:rPr>
              <a:t>COE-IT</a:t>
            </a:r>
            <a:endParaRPr lang="en-US" sz="1800" dirty="0">
              <a:effectLst/>
              <a:latin typeface="Segoe UI" panose="020B0502040204020203" pitchFamily="34" charset="0"/>
            </a:endParaRPr>
          </a:p>
          <a:p>
            <a:pPr marL="0" marR="0">
              <a:spcBef>
                <a:spcPts val="0"/>
              </a:spcBef>
              <a:spcAft>
                <a:spcPts val="0"/>
              </a:spcAft>
            </a:pPr>
            <a:r>
              <a:rPr lang="en-US" sz="1800" dirty="0">
                <a:effectLst/>
                <a:latin typeface="-apple-system"/>
                <a:hlinkClick r:id="rId8"/>
              </a:rPr>
              <a:t>MCN-IT</a:t>
            </a:r>
            <a:endParaRPr lang="en-US" sz="1800" dirty="0">
              <a:effectLst/>
              <a:latin typeface="Segoe UI" panose="020B0502040204020203" pitchFamily="34" charset="0"/>
            </a:endParaRPr>
          </a:p>
          <a:p>
            <a:pPr marL="0" marR="0">
              <a:spcBef>
                <a:spcPts val="0"/>
              </a:spcBef>
              <a:spcAft>
                <a:spcPts val="0"/>
              </a:spcAft>
            </a:pPr>
            <a:r>
              <a:rPr lang="en-US" sz="1800" dirty="0">
                <a:effectLst/>
                <a:latin typeface="-apple-system"/>
                <a:hlinkClick r:id="rId9"/>
              </a:rPr>
              <a:t>SAIT</a:t>
            </a:r>
            <a:endParaRPr lang="en-US" sz="1800" dirty="0">
              <a:effectLst/>
              <a:latin typeface="Segoe UI" panose="020B0502040204020203" pitchFamily="34" charset="0"/>
            </a:endParaRPr>
          </a:p>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17</a:t>
            </a:fld>
            <a:endParaRPr lang="en-US"/>
          </a:p>
        </p:txBody>
      </p:sp>
    </p:spTree>
    <p:extLst>
      <p:ext uri="{BB962C8B-B14F-4D97-AF65-F5344CB8AC3E}">
        <p14:creationId xmlns:p14="http://schemas.microsoft.com/office/powerpoint/2010/main" val="3967968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rtl="0" fontAlgn="t">
              <a:spcBef>
                <a:spcPts val="0"/>
              </a:spcBef>
              <a:spcAft>
                <a:spcPts val="0"/>
              </a:spcAft>
            </a:pPr>
            <a:r>
              <a:rPr lang="en-US" sz="1800" dirty="0">
                <a:effectLst/>
                <a:latin typeface="-apple-system"/>
                <a:hlinkClick r:id="rId3"/>
              </a:rPr>
              <a:t>CAS-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4"/>
              </a:rPr>
              <a:t>CAST-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5"/>
              </a:rPr>
              <a:t>CFA-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6"/>
              </a:rPr>
              <a:t>COB-IT</a:t>
            </a:r>
            <a:endParaRPr lang="en-US" sz="1800" dirty="0">
              <a:effectLst/>
              <a:latin typeface="Segoe UI" panose="020B0502040204020203" pitchFamily="34" charset="0"/>
            </a:endParaRPr>
          </a:p>
          <a:p>
            <a:pPr marL="0" marR="0" rtl="0" fontAlgn="t">
              <a:spcBef>
                <a:spcPts val="0"/>
              </a:spcBef>
              <a:spcAft>
                <a:spcPts val="0"/>
              </a:spcAft>
            </a:pPr>
            <a:r>
              <a:rPr lang="en-US" sz="1800" dirty="0">
                <a:effectLst/>
                <a:latin typeface="-apple-system"/>
                <a:hlinkClick r:id="rId7"/>
              </a:rPr>
              <a:t>COE-IT</a:t>
            </a:r>
            <a:endParaRPr lang="en-US" sz="1800" dirty="0">
              <a:effectLst/>
              <a:latin typeface="Segoe UI" panose="020B0502040204020203" pitchFamily="34" charset="0"/>
            </a:endParaRPr>
          </a:p>
          <a:p>
            <a:pPr marL="0" marR="0">
              <a:spcBef>
                <a:spcPts val="0"/>
              </a:spcBef>
              <a:spcAft>
                <a:spcPts val="0"/>
              </a:spcAft>
            </a:pPr>
            <a:r>
              <a:rPr lang="en-US" sz="1800" dirty="0">
                <a:effectLst/>
                <a:latin typeface="-apple-system"/>
                <a:hlinkClick r:id="rId8"/>
              </a:rPr>
              <a:t>MCN-IT</a:t>
            </a:r>
            <a:endParaRPr lang="en-US" sz="1800" dirty="0">
              <a:effectLst/>
              <a:latin typeface="Segoe UI" panose="020B0502040204020203" pitchFamily="34" charset="0"/>
            </a:endParaRPr>
          </a:p>
          <a:p>
            <a:pPr marL="0" marR="0">
              <a:spcBef>
                <a:spcPts val="0"/>
              </a:spcBef>
              <a:spcAft>
                <a:spcPts val="0"/>
              </a:spcAft>
            </a:pPr>
            <a:r>
              <a:rPr lang="en-US" sz="1800" dirty="0">
                <a:effectLst/>
                <a:latin typeface="-apple-system"/>
                <a:hlinkClick r:id="rId9"/>
              </a:rPr>
              <a:t>SAIT</a:t>
            </a:r>
            <a:endParaRPr lang="en-US" sz="1800" dirty="0">
              <a:effectLst/>
              <a:latin typeface="Segoe UI" panose="020B0502040204020203" pitchFamily="34" charset="0"/>
            </a:endParaRPr>
          </a:p>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18</a:t>
            </a:fld>
            <a:endParaRPr lang="en-US"/>
          </a:p>
        </p:txBody>
      </p:sp>
    </p:spTree>
    <p:extLst>
      <p:ext uri="{BB962C8B-B14F-4D97-AF65-F5344CB8AC3E}">
        <p14:creationId xmlns:p14="http://schemas.microsoft.com/office/powerpoint/2010/main" val="17083622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19</a:t>
            </a:fld>
            <a:endParaRPr lang="en-US"/>
          </a:p>
        </p:txBody>
      </p:sp>
    </p:spTree>
    <p:extLst>
      <p:ext uri="{BB962C8B-B14F-4D97-AF65-F5344CB8AC3E}">
        <p14:creationId xmlns:p14="http://schemas.microsoft.com/office/powerpoint/2010/main" val="14978528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8AB4F8"/>
                </a:solidFill>
                <a:effectLst/>
                <a:latin typeface="Roboto" panose="02000000000000000000" pitchFamily="2" charset="0"/>
              </a:rPr>
              <a:t>University of Wisconsin-Milwaukee </a:t>
            </a:r>
            <a:r>
              <a:rPr lang="en-US" dirty="0"/>
              <a:t>completed this effort in roughly 9 months.</a:t>
            </a:r>
          </a:p>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20</a:t>
            </a:fld>
            <a:endParaRPr lang="en-US"/>
          </a:p>
        </p:txBody>
      </p:sp>
    </p:spTree>
    <p:extLst>
      <p:ext uri="{BB962C8B-B14F-4D97-AF65-F5344CB8AC3E}">
        <p14:creationId xmlns:p14="http://schemas.microsoft.com/office/powerpoint/2010/main" val="3699324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3</a:t>
            </a:fld>
            <a:endParaRPr lang="en-US"/>
          </a:p>
        </p:txBody>
      </p:sp>
    </p:spTree>
    <p:extLst>
      <p:ext uri="{BB962C8B-B14F-4D97-AF65-F5344CB8AC3E}">
        <p14:creationId xmlns:p14="http://schemas.microsoft.com/office/powerpoint/2010/main" val="8103375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21</a:t>
            </a:fld>
            <a:endParaRPr lang="en-US"/>
          </a:p>
        </p:txBody>
      </p:sp>
    </p:spTree>
    <p:extLst>
      <p:ext uri="{BB962C8B-B14F-4D97-AF65-F5344CB8AC3E}">
        <p14:creationId xmlns:p14="http://schemas.microsoft.com/office/powerpoint/2010/main" val="15670864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sk the 3 nominees to stand, and deliver mug to them, then announce winner. </a:t>
            </a:r>
          </a:p>
        </p:txBody>
      </p:sp>
      <p:sp>
        <p:nvSpPr>
          <p:cNvPr id="4" name="Slide Number Placeholder 3"/>
          <p:cNvSpPr>
            <a:spLocks noGrp="1"/>
          </p:cNvSpPr>
          <p:nvPr>
            <p:ph type="sldNum" sz="quarter" idx="10"/>
          </p:nvPr>
        </p:nvSpPr>
        <p:spPr/>
        <p:txBody>
          <a:bodyPr/>
          <a:lstStyle/>
          <a:p>
            <a:fld id="{93D8CEAC-B183-4F61-9ACB-253D235719CA}" type="slidenum">
              <a:rPr lang="en-US" smtClean="0"/>
              <a:t>22</a:t>
            </a:fld>
            <a:endParaRPr lang="en-US"/>
          </a:p>
        </p:txBody>
      </p:sp>
    </p:spTree>
    <p:extLst>
      <p:ext uri="{BB962C8B-B14F-4D97-AF65-F5344CB8AC3E}">
        <p14:creationId xmlns:p14="http://schemas.microsoft.com/office/powerpoint/2010/main" val="39652376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23</a:t>
            </a:fld>
            <a:endParaRPr lang="en-US"/>
          </a:p>
        </p:txBody>
      </p:sp>
    </p:spTree>
    <p:extLst>
      <p:ext uri="{BB962C8B-B14F-4D97-AF65-F5344CB8AC3E}">
        <p14:creationId xmlns:p14="http://schemas.microsoft.com/office/powerpoint/2010/main" val="38739910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24</a:t>
            </a:fld>
            <a:endParaRPr lang="en-US"/>
          </a:p>
        </p:txBody>
      </p:sp>
    </p:spTree>
    <p:extLst>
      <p:ext uri="{BB962C8B-B14F-4D97-AF65-F5344CB8AC3E}">
        <p14:creationId xmlns:p14="http://schemas.microsoft.com/office/powerpoint/2010/main" val="26514660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25</a:t>
            </a:fld>
            <a:endParaRPr lang="en-US"/>
          </a:p>
        </p:txBody>
      </p:sp>
    </p:spTree>
    <p:extLst>
      <p:ext uri="{BB962C8B-B14F-4D97-AF65-F5344CB8AC3E}">
        <p14:creationId xmlns:p14="http://schemas.microsoft.com/office/powerpoint/2010/main" val="941340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troduce Majeed Abu-Qulbain, who will say a few words and then Jim will also say a few words</a:t>
            </a:r>
          </a:p>
          <a:p>
            <a:r>
              <a:rPr lang="en-US" baseline="0" dirty="0"/>
              <a:t>Winner mug &amp; plaque will be at instructor station, also deliver mugs to nominees</a:t>
            </a:r>
          </a:p>
          <a:p>
            <a:endParaRPr lang="en-US" baseline="0" dirty="0"/>
          </a:p>
          <a:p>
            <a:r>
              <a:rPr lang="en-US" baseline="0" dirty="0"/>
              <a:t>Note that the MVP Award winner and nominees have water bottles waiting for them on the table at the front of the auditorium</a:t>
            </a:r>
          </a:p>
        </p:txBody>
      </p:sp>
      <p:sp>
        <p:nvSpPr>
          <p:cNvPr id="4" name="Slide Number Placeholder 3"/>
          <p:cNvSpPr>
            <a:spLocks noGrp="1"/>
          </p:cNvSpPr>
          <p:nvPr>
            <p:ph type="sldNum" sz="quarter" idx="10"/>
          </p:nvPr>
        </p:nvSpPr>
        <p:spPr/>
        <p:txBody>
          <a:bodyPr/>
          <a:lstStyle/>
          <a:p>
            <a:fld id="{93D8CEAC-B183-4F61-9ACB-253D235719CA}" type="slidenum">
              <a:rPr lang="en-US" smtClean="0"/>
              <a:t>26</a:t>
            </a:fld>
            <a:endParaRPr lang="en-US"/>
          </a:p>
        </p:txBody>
      </p:sp>
    </p:spTree>
    <p:extLst>
      <p:ext uri="{BB962C8B-B14F-4D97-AF65-F5344CB8AC3E}">
        <p14:creationId xmlns:p14="http://schemas.microsoft.com/office/powerpoint/2010/main" val="33928596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27</a:t>
            </a:fld>
            <a:endParaRPr lang="en-US"/>
          </a:p>
        </p:txBody>
      </p:sp>
    </p:spTree>
    <p:extLst>
      <p:ext uri="{BB962C8B-B14F-4D97-AF65-F5344CB8AC3E}">
        <p14:creationId xmlns:p14="http://schemas.microsoft.com/office/powerpoint/2010/main" val="19013804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Have presenters stand, and then tech facilitators</a:t>
            </a:r>
          </a:p>
          <a:p>
            <a:r>
              <a:rPr lang="en-US" baseline="0" dirty="0"/>
              <a:t>Note that they have CIT coffee mugs as a thank you on the table at the front of the auditorium</a:t>
            </a:r>
          </a:p>
          <a:p>
            <a:endParaRPr lang="en-US" baseline="0" dirty="0"/>
          </a:p>
          <a:p>
            <a:r>
              <a:rPr lang="en-US" baseline="0" dirty="0"/>
              <a:t>Have planning committee stand and thank them as well</a:t>
            </a:r>
          </a:p>
        </p:txBody>
      </p:sp>
      <p:sp>
        <p:nvSpPr>
          <p:cNvPr id="4" name="Slide Number Placeholder 3"/>
          <p:cNvSpPr>
            <a:spLocks noGrp="1"/>
          </p:cNvSpPr>
          <p:nvPr>
            <p:ph type="sldNum" sz="quarter" idx="10"/>
          </p:nvPr>
        </p:nvSpPr>
        <p:spPr/>
        <p:txBody>
          <a:bodyPr/>
          <a:lstStyle/>
          <a:p>
            <a:fld id="{93D8CEAC-B183-4F61-9ACB-253D235719CA}" type="slidenum">
              <a:rPr lang="en-US" smtClean="0"/>
              <a:t>28</a:t>
            </a:fld>
            <a:endParaRPr lang="en-US"/>
          </a:p>
        </p:txBody>
      </p:sp>
    </p:spTree>
    <p:extLst>
      <p:ext uri="{BB962C8B-B14F-4D97-AF65-F5344CB8AC3E}">
        <p14:creationId xmlns:p14="http://schemas.microsoft.com/office/powerpoint/2010/main" val="10014058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29</a:t>
            </a:fld>
            <a:endParaRPr lang="en-US"/>
          </a:p>
        </p:txBody>
      </p:sp>
    </p:spTree>
    <p:extLst>
      <p:ext uri="{BB962C8B-B14F-4D97-AF65-F5344CB8AC3E}">
        <p14:creationId xmlns:p14="http://schemas.microsoft.com/office/powerpoint/2010/main" val="39679684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30</a:t>
            </a:fld>
            <a:endParaRPr lang="en-US"/>
          </a:p>
        </p:txBody>
      </p:sp>
    </p:spTree>
    <p:extLst>
      <p:ext uri="{BB962C8B-B14F-4D97-AF65-F5344CB8AC3E}">
        <p14:creationId xmlns:p14="http://schemas.microsoft.com/office/powerpoint/2010/main" val="1910456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4</a:t>
            </a:fld>
            <a:endParaRPr lang="en-US"/>
          </a:p>
        </p:txBody>
      </p:sp>
    </p:spTree>
    <p:extLst>
      <p:ext uri="{BB962C8B-B14F-4D97-AF65-F5344CB8AC3E}">
        <p14:creationId xmlns:p14="http://schemas.microsoft.com/office/powerpoint/2010/main" val="32670833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rPr>
              <a:t>Total respondents = 8 (continuing to get more info from other researchers)</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Departments = 5 (Chem, Physics, Info Tech, Math, Econ)</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otal External Grants Applied = 8 (Dr Caplan is a finalist for an $8MM gran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otal External Grants Approved - 4</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Total External $’s to ISU = $420,085</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otal Papers = 33</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otal Presentations = 22</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Total Students Involved = 13</a:t>
            </a:r>
          </a:p>
          <a:p>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31</a:t>
            </a:fld>
            <a:endParaRPr lang="en-US"/>
          </a:p>
        </p:txBody>
      </p:sp>
    </p:spTree>
    <p:extLst>
      <p:ext uri="{BB962C8B-B14F-4D97-AF65-F5344CB8AC3E}">
        <p14:creationId xmlns:p14="http://schemas.microsoft.com/office/powerpoint/2010/main" val="2751881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Windows 11 Campus Implementation Strategy group – representatives from all support teams – gathered to discuss a common strategy on implementing Windows 11 by EOS deadlines</a:t>
            </a:r>
          </a:p>
          <a:p>
            <a:r>
              <a:rPr lang="en-US" baseline="0" dirty="0"/>
              <a:t>We all have to comply with the same security standards, and Windows changes continuously now – not only easier than it used to be but more necessary for us to plan and proceed on the same path here</a:t>
            </a:r>
          </a:p>
          <a:p>
            <a:r>
              <a:rPr lang="en-US" baseline="0" dirty="0"/>
              <a:t>Good news is that 11 isn’t as major an upgrade, and in place upgrades appear to work pretty well – no big issues reported by those already using it</a:t>
            </a:r>
          </a:p>
          <a:p>
            <a:r>
              <a:rPr lang="en-US" baseline="0" dirty="0"/>
              <a:t>Report and data from SCCM on each team’s hardware readiness + status of OS versions for supported computers are in ISU IT Staff files in a folder labelled “Windows 11 Status”</a:t>
            </a:r>
          </a:p>
          <a:p>
            <a:r>
              <a:rPr lang="en-US" baseline="0" dirty="0"/>
              <a:t>The OS version data will be updated there at the beginning of each month so that you can check your progress</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637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55482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45085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9684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8321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53840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3148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1337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7289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5</a:t>
            </a:fld>
            <a:endParaRPr lang="en-US"/>
          </a:p>
        </p:txBody>
      </p:sp>
    </p:spTree>
    <p:extLst>
      <p:ext uri="{BB962C8B-B14F-4D97-AF65-F5344CB8AC3E}">
        <p14:creationId xmlns:p14="http://schemas.microsoft.com/office/powerpoint/2010/main" val="39679684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78673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67233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D8CEAC-B183-4F61-9ACB-253D235719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1949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t' s my great pleasure to introduce everyone to The College Technology Directors Council!  The CTDC is an evolution, of sorts, of the roles that Mark Walbert and Rosie Hauck have served in so well.  We have a charter establishing our mission and scope and we also have some goals for the continued evolution of the group.  Rosie and Charley have been key in the creation of the CTDC and I, along with my counterparts Matt Gromer, Liam Nance-Carroll, Matt Rutherford, Chandra Smith, Eric Yeager, and Paul </a:t>
            </a:r>
            <a:r>
              <a:rPr lang="en-US" dirty="0" err="1">
                <a:cs typeface="Calibri"/>
              </a:rPr>
              <a:t>Unsbee</a:t>
            </a:r>
            <a:r>
              <a:rPr lang="en-US" dirty="0">
                <a:cs typeface="Calibri"/>
              </a:rPr>
              <a:t> are very appreciative of the support from Rosie, Charlie, </a:t>
            </a:r>
            <a:r>
              <a:rPr lang="en-US" dirty="0"/>
              <a:t>Rob Bailey, Jennifer Friberg, </a:t>
            </a:r>
            <a:r>
              <a:rPr lang="en-US" dirty="0">
                <a:cs typeface="Calibri"/>
              </a:rPr>
              <a:t>Jeff</a:t>
            </a:r>
            <a:r>
              <a:rPr lang="en-US"/>
              <a:t> Grabb, Dave Greenfield, Tony Pena, and Pam Walden.  So, as you hear from "the CTDC", you'll now know that we're representing the combined perspective of college needs.  Feel free to reach out to me if there is anything we can do to help!</a:t>
            </a:r>
            <a:endParaRPr lang="en-US" baseline="0"/>
          </a:p>
        </p:txBody>
      </p:sp>
      <p:sp>
        <p:nvSpPr>
          <p:cNvPr id="4" name="Slide Number Placeholder 3"/>
          <p:cNvSpPr>
            <a:spLocks noGrp="1"/>
          </p:cNvSpPr>
          <p:nvPr>
            <p:ph type="sldNum" sz="quarter" idx="10"/>
          </p:nvPr>
        </p:nvSpPr>
        <p:spPr/>
        <p:txBody>
          <a:bodyPr/>
          <a:lstStyle/>
          <a:p>
            <a:fld id="{93D8CEAC-B183-4F61-9ACB-253D235719CA}" type="slidenum">
              <a:rPr lang="en-US" smtClean="0"/>
              <a:t>46</a:t>
            </a:fld>
            <a:endParaRPr lang="en-US"/>
          </a:p>
        </p:txBody>
      </p:sp>
    </p:spTree>
    <p:extLst>
      <p:ext uri="{BB962C8B-B14F-4D97-AF65-F5344CB8AC3E}">
        <p14:creationId xmlns:p14="http://schemas.microsoft.com/office/powerpoint/2010/main" val="42358223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e Arts, Business, Education, and Arts and Sciences have been collaborating on an equipment reservation and loan management platform with the main goal of providing our students with an easy self-service way to borrow laptops, cameras, and many other class tech resources.  The solution we pursued is </a:t>
            </a:r>
            <a:r>
              <a:rPr lang="en-US" dirty="0" err="1"/>
              <a:t>WebCheckout</a:t>
            </a:r>
            <a:r>
              <a:rPr lang="en-US" dirty="0"/>
              <a:t>.  This Fall marks the first full semester that we'll make it available to our students, so our processes are still young, but we wanted to share this info with the rest of the campus IT community in case any other areas are interested.  Reach out to us at webcheckoutadmins@ilstu.edu! </a:t>
            </a:r>
            <a:endParaRPr lang="en-US"/>
          </a:p>
        </p:txBody>
      </p:sp>
      <p:sp>
        <p:nvSpPr>
          <p:cNvPr id="4" name="Slide Number Placeholder 3"/>
          <p:cNvSpPr>
            <a:spLocks noGrp="1"/>
          </p:cNvSpPr>
          <p:nvPr>
            <p:ph type="sldNum" sz="quarter" idx="10"/>
          </p:nvPr>
        </p:nvSpPr>
        <p:spPr/>
        <p:txBody>
          <a:bodyPr/>
          <a:lstStyle/>
          <a:p>
            <a:fld id="{93D8CEAC-B183-4F61-9ACB-253D235719CA}" type="slidenum">
              <a:rPr lang="en-US" smtClean="0"/>
              <a:t>47</a:t>
            </a:fld>
            <a:endParaRPr lang="en-US"/>
          </a:p>
        </p:txBody>
      </p:sp>
    </p:spTree>
    <p:extLst>
      <p:ext uri="{BB962C8B-B14F-4D97-AF65-F5344CB8AC3E}">
        <p14:creationId xmlns:p14="http://schemas.microsoft.com/office/powerpoint/2010/main" val="39679684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mind presenters and facilitators to pick up their coffee mugs as they leave IT News</a:t>
            </a:r>
          </a:p>
        </p:txBody>
      </p:sp>
      <p:sp>
        <p:nvSpPr>
          <p:cNvPr id="4" name="Slide Number Placeholder 3"/>
          <p:cNvSpPr>
            <a:spLocks noGrp="1"/>
          </p:cNvSpPr>
          <p:nvPr>
            <p:ph type="sldNum" sz="quarter" idx="10"/>
          </p:nvPr>
        </p:nvSpPr>
        <p:spPr/>
        <p:txBody>
          <a:bodyPr/>
          <a:lstStyle/>
          <a:p>
            <a:fld id="{93D8CEAC-B183-4F61-9ACB-253D235719CA}" type="slidenum">
              <a:rPr lang="en-US" smtClean="0"/>
              <a:t>48</a:t>
            </a:fld>
            <a:endParaRPr lang="en-US"/>
          </a:p>
        </p:txBody>
      </p:sp>
    </p:spTree>
    <p:extLst>
      <p:ext uri="{BB962C8B-B14F-4D97-AF65-F5344CB8AC3E}">
        <p14:creationId xmlns:p14="http://schemas.microsoft.com/office/powerpoint/2010/main" val="3695489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3D8CEAC-B183-4F61-9ACB-253D235719CA}" type="slidenum">
              <a:rPr lang="en-US" smtClean="0"/>
              <a:t>6</a:t>
            </a:fld>
            <a:endParaRPr lang="en-US"/>
          </a:p>
        </p:txBody>
      </p:sp>
    </p:spTree>
    <p:extLst>
      <p:ext uri="{BB962C8B-B14F-4D97-AF65-F5344CB8AC3E}">
        <p14:creationId xmlns:p14="http://schemas.microsoft.com/office/powerpoint/2010/main" val="112244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D8CEAC-B183-4F61-9ACB-253D235719CA}" type="slidenum">
              <a:rPr lang="en-US" smtClean="0"/>
              <a:t>7</a:t>
            </a:fld>
            <a:endParaRPr lang="en-US"/>
          </a:p>
        </p:txBody>
      </p:sp>
    </p:spTree>
    <p:extLst>
      <p:ext uri="{BB962C8B-B14F-4D97-AF65-F5344CB8AC3E}">
        <p14:creationId xmlns:p14="http://schemas.microsoft.com/office/powerpoint/2010/main" val="973365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52881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33117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noRot="1" noChangeAspect="1" noChangeArrowheads="1" noTextEdit="1"/>
          </p:cNvSpPr>
          <p:nvPr>
            <p:ph type="sldImg"/>
          </p:nvPr>
        </p:nvSpPr>
        <p:spPr>
          <a:xfrm>
            <a:off x="420688" y="1858963"/>
            <a:ext cx="7005637" cy="3940175"/>
          </a:xfrm>
          <a:ln/>
        </p:spPr>
      </p:sp>
      <p:sp>
        <p:nvSpPr>
          <p:cNvPr id="406531" name="Rectangle 3"/>
          <p:cNvSpPr>
            <a:spLocks noGrp="1" noChangeArrowheads="1"/>
          </p:cNvSpPr>
          <p:nvPr>
            <p:ph type="body" idx="1"/>
          </p:nvPr>
        </p:nvSpPr>
        <p:spPr/>
        <p:txBody>
          <a:bodyPr/>
          <a:lstStyle/>
          <a:p>
            <a:pPr>
              <a:lnSpc>
                <a:spcPct val="65000"/>
              </a:lnSpc>
            </a:pPr>
            <a:endParaRPr lang="en-US" sz="800"/>
          </a:p>
        </p:txBody>
      </p:sp>
    </p:spTree>
    <p:extLst>
      <p:ext uri="{BB962C8B-B14F-4D97-AF65-F5344CB8AC3E}">
        <p14:creationId xmlns:p14="http://schemas.microsoft.com/office/powerpoint/2010/main" val="10451911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EC222DF-4A0C-564A-BDC4-89C55FF98B72}" type="datetimeFigureOut">
              <a:rPr lang="en-US" smtClean="0"/>
              <a:t>8/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968913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EC222DF-4A0C-564A-BDC4-89C55FF98B72}" type="datetimeFigureOut">
              <a:rPr lang="en-US" smtClean="0"/>
              <a:t>8/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3477014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EC222DF-4A0C-564A-BDC4-89C55FF98B72}" type="datetimeFigureOut">
              <a:rPr lang="en-US" smtClean="0"/>
              <a:t>8/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3372229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title</a:t>
            </a:r>
          </a:p>
        </p:txBody>
      </p:sp>
      <p:sp>
        <p:nvSpPr>
          <p:cNvPr id="7" name="Content Placeholder 6"/>
          <p:cNvSpPr>
            <a:spLocks noGrp="1"/>
          </p:cNvSpPr>
          <p:nvPr>
            <p:ph sz="quarter" idx="10" hasCustomPrompt="1"/>
          </p:nvPr>
        </p:nvSpPr>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09999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2900" y="271463"/>
            <a:ext cx="8455914" cy="338423"/>
          </a:xfrm>
        </p:spPr>
        <p:txBody>
          <a:bodyPr/>
          <a:lstStyle/>
          <a:p>
            <a:r>
              <a:rPr lang="en-US"/>
              <a:t>Click to edit title</a:t>
            </a:r>
          </a:p>
        </p:txBody>
      </p:sp>
      <p:sp>
        <p:nvSpPr>
          <p:cNvPr id="3" name="Content Placeholder 2"/>
          <p:cNvSpPr>
            <a:spLocks noGrp="1"/>
          </p:cNvSpPr>
          <p:nvPr>
            <p:ph sz="half" idx="1" hasCustomPrompt="1"/>
          </p:nvPr>
        </p:nvSpPr>
        <p:spPr>
          <a:xfrm>
            <a:off x="342900" y="1145286"/>
            <a:ext cx="1950530" cy="3346704"/>
          </a:xfrm>
        </p:spPr>
        <p:txBody>
          <a:bodyPr/>
          <a:lstStyle>
            <a:lvl1pPr>
              <a:defRPr sz="1500"/>
            </a:lvl1pPr>
            <a:lvl2pPr>
              <a:defRPr sz="1500"/>
            </a:lvl2pPr>
            <a:lvl3pPr>
              <a:defRPr sz="1500"/>
            </a:lvl3pPr>
            <a:lvl4pPr>
              <a:defRPr sz="1500"/>
            </a:lvl4pPr>
            <a:lvl5pPr>
              <a:defRPr sz="15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2511361" y="1145286"/>
            <a:ext cx="1950530" cy="3346704"/>
          </a:xfrm>
        </p:spPr>
        <p:txBody>
          <a:bodyPr/>
          <a:lstStyle>
            <a:lvl1pPr>
              <a:defRPr sz="1500"/>
            </a:lvl1pPr>
            <a:lvl2pPr>
              <a:defRPr sz="1500"/>
            </a:lvl2pPr>
            <a:lvl3pPr>
              <a:defRPr sz="1500"/>
            </a:lvl3pPr>
            <a:lvl4pPr>
              <a:defRPr sz="1500"/>
            </a:lvl4pPr>
            <a:lvl5pPr>
              <a:defRPr sz="15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13ADFCF5-3DAD-4A00-B1EE-30FF7A1A1DC5}"/>
              </a:ext>
            </a:extLst>
          </p:cNvPr>
          <p:cNvSpPr>
            <a:spLocks noGrp="1"/>
          </p:cNvSpPr>
          <p:nvPr>
            <p:ph sz="half" idx="10" hasCustomPrompt="1"/>
          </p:nvPr>
        </p:nvSpPr>
        <p:spPr>
          <a:xfrm>
            <a:off x="4679823" y="1145286"/>
            <a:ext cx="1950530" cy="3346704"/>
          </a:xfrm>
        </p:spPr>
        <p:txBody>
          <a:bodyPr/>
          <a:lstStyle>
            <a:lvl1pPr>
              <a:defRPr sz="1500"/>
            </a:lvl1pPr>
            <a:lvl2pPr>
              <a:defRPr sz="1500"/>
            </a:lvl2pPr>
            <a:lvl3pPr>
              <a:defRPr sz="1500"/>
            </a:lvl3pPr>
            <a:lvl4pPr>
              <a:defRPr sz="1500"/>
            </a:lvl4pPr>
            <a:lvl5pPr>
              <a:defRPr sz="15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B226B5DF-DF35-419C-8251-4F81A740D77A}"/>
              </a:ext>
            </a:extLst>
          </p:cNvPr>
          <p:cNvSpPr>
            <a:spLocks noGrp="1"/>
          </p:cNvSpPr>
          <p:nvPr>
            <p:ph sz="half" idx="11" hasCustomPrompt="1"/>
          </p:nvPr>
        </p:nvSpPr>
        <p:spPr>
          <a:xfrm>
            <a:off x="6848284" y="1145286"/>
            <a:ext cx="1950530" cy="3346704"/>
          </a:xfrm>
        </p:spPr>
        <p:txBody>
          <a:bodyPr/>
          <a:lstStyle>
            <a:lvl1pPr>
              <a:defRPr sz="1500"/>
            </a:lvl1pPr>
            <a:lvl2pPr>
              <a:defRPr sz="1500"/>
            </a:lvl2pPr>
            <a:lvl3pPr>
              <a:defRPr sz="1500"/>
            </a:lvl3pPr>
            <a:lvl4pPr>
              <a:defRPr sz="1500"/>
            </a:lvl4pPr>
            <a:lvl5pPr>
              <a:defRPr sz="1500"/>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86613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ntent – Heading, Paragraph ">
  <p:cSld name="Content – Heading, Paragraph ">
    <p:spTree>
      <p:nvGrpSpPr>
        <p:cNvPr id="1" name="Shape 160"/>
        <p:cNvGrpSpPr/>
        <p:nvPr/>
      </p:nvGrpSpPr>
      <p:grpSpPr>
        <a:xfrm>
          <a:off x="0" y="0"/>
          <a:ext cx="0" cy="0"/>
          <a:chOff x="0" y="0"/>
          <a:chExt cx="0" cy="0"/>
        </a:xfrm>
      </p:grpSpPr>
      <p:sp>
        <p:nvSpPr>
          <p:cNvPr id="161" name="Google Shape;161;p27"/>
          <p:cNvSpPr txBox="1">
            <a:spLocks noGrp="1"/>
          </p:cNvSpPr>
          <p:nvPr>
            <p:ph type="title"/>
          </p:nvPr>
        </p:nvSpPr>
        <p:spPr>
          <a:xfrm>
            <a:off x="228600" y="219456"/>
            <a:ext cx="5194500" cy="441600"/>
          </a:xfrm>
          <a:prstGeom prst="rect">
            <a:avLst/>
          </a:prstGeom>
          <a:noFill/>
          <a:ln>
            <a:noFill/>
          </a:ln>
        </p:spPr>
        <p:txBody>
          <a:bodyPr spcFirstLastPara="1" wrap="square" lIns="19050" tIns="19050" rIns="19050" bIns="19050" anchor="t" anchorCtr="0">
            <a:noAutofit/>
          </a:bodyPr>
          <a:lstStyle>
            <a:lvl1pPr marR="0" lvl="0" algn="l" rtl="0">
              <a:lnSpc>
                <a:spcPct val="100000"/>
              </a:lnSpc>
              <a:spcBef>
                <a:spcPts val="0"/>
              </a:spcBef>
              <a:spcAft>
                <a:spcPts val="0"/>
              </a:spcAft>
              <a:buClr>
                <a:schemeClr val="dk1"/>
              </a:buClr>
              <a:buSzPts val="1800"/>
              <a:buNone/>
              <a:defRPr sz="1800" i="0" u="none" strike="noStrike" cap="none">
                <a:solidFill>
                  <a:schemeClr val="dk1"/>
                </a:solidFill>
              </a:defRPr>
            </a:lvl1pPr>
            <a:lvl2pPr marR="0" lvl="1"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2pPr>
            <a:lvl3pPr marR="0" lvl="2"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3pPr>
            <a:lvl4pPr marR="0" lvl="3"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4pPr>
            <a:lvl5pPr marR="0" lvl="4"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5pPr>
            <a:lvl6pPr marR="0" lvl="5"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6pPr>
            <a:lvl7pPr marR="0" lvl="6"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7pPr>
            <a:lvl8pPr marR="0" lvl="7"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8pPr>
            <a:lvl9pPr marR="0" lvl="8" algn="l" rtl="0">
              <a:lnSpc>
                <a:spcPct val="100000"/>
              </a:lnSpc>
              <a:spcBef>
                <a:spcPts val="0"/>
              </a:spcBef>
              <a:spcAft>
                <a:spcPts val="0"/>
              </a:spcAft>
              <a:buClr>
                <a:srgbClr val="000000"/>
              </a:buClr>
              <a:buSzPts val="3400"/>
              <a:buFont typeface="Helvetica Neue"/>
              <a:buNone/>
              <a:defRPr sz="3400" b="1" i="0" u="none" strike="noStrike" cap="none">
                <a:solidFill>
                  <a:srgbClr val="000000"/>
                </a:solidFill>
                <a:latin typeface="Helvetica Neue"/>
                <a:ea typeface="Helvetica Neue"/>
                <a:cs typeface="Helvetica Neue"/>
                <a:sym typeface="Helvetica Neue"/>
              </a:defRPr>
            </a:lvl9pPr>
          </a:lstStyle>
          <a:p>
            <a:endParaRPr/>
          </a:p>
        </p:txBody>
      </p:sp>
      <p:sp>
        <p:nvSpPr>
          <p:cNvPr id="163" name="Google Shape;163;p27"/>
          <p:cNvSpPr txBox="1">
            <a:spLocks noGrp="1"/>
          </p:cNvSpPr>
          <p:nvPr>
            <p:ph type="body" idx="1"/>
          </p:nvPr>
        </p:nvSpPr>
        <p:spPr>
          <a:xfrm>
            <a:off x="5031525" y="1369825"/>
            <a:ext cx="3198000" cy="3017100"/>
          </a:xfrm>
          <a:prstGeom prst="rect">
            <a:avLst/>
          </a:prstGeom>
        </p:spPr>
        <p:txBody>
          <a:bodyPr spcFirstLastPara="1" wrap="square" lIns="19050" tIns="19050" rIns="19050" bIns="19050" anchor="t" anchorCtr="0">
            <a:noAutofit/>
          </a:bodyPr>
          <a:lstStyle>
            <a:lvl1pPr marL="457189" lvl="0" indent="-304793" rtl="0">
              <a:lnSpc>
                <a:spcPct val="115000"/>
              </a:lnSpc>
              <a:spcBef>
                <a:spcPts val="0"/>
              </a:spcBef>
              <a:spcAft>
                <a:spcPts val="0"/>
              </a:spcAft>
              <a:buClr>
                <a:schemeClr val="dk1"/>
              </a:buClr>
              <a:buSzPts val="1200"/>
              <a:buFont typeface="Helvetica Neue Light"/>
              <a:buChar char="●"/>
              <a:defRPr sz="1200">
                <a:solidFill>
                  <a:schemeClr val="dk1"/>
                </a:solidFill>
                <a:latin typeface="Helvetica Neue Light"/>
                <a:ea typeface="Helvetica Neue Light"/>
                <a:cs typeface="Helvetica Neue Light"/>
                <a:sym typeface="Helvetica Neue Light"/>
              </a:defRPr>
            </a:lvl1pPr>
            <a:lvl2pPr marL="914378" lvl="1" indent="-298442" rtl="0">
              <a:spcBef>
                <a:spcPts val="1000"/>
              </a:spcBef>
              <a:spcAft>
                <a:spcPts val="0"/>
              </a:spcAft>
              <a:buClr>
                <a:schemeClr val="dk1"/>
              </a:buClr>
              <a:buSzPts val="1100"/>
              <a:buChar char="○"/>
              <a:defRPr>
                <a:solidFill>
                  <a:schemeClr val="dk1"/>
                </a:solidFill>
              </a:defRPr>
            </a:lvl2pPr>
            <a:lvl3pPr marL="1371566" lvl="2" indent="-285743" rtl="0">
              <a:spcBef>
                <a:spcPts val="0"/>
              </a:spcBef>
              <a:spcAft>
                <a:spcPts val="0"/>
              </a:spcAft>
              <a:buClr>
                <a:schemeClr val="dk1"/>
              </a:buClr>
              <a:buSzPts val="900"/>
              <a:buChar char="■"/>
              <a:defRPr>
                <a:solidFill>
                  <a:schemeClr val="dk1"/>
                </a:solidFill>
              </a:defRPr>
            </a:lvl3pPr>
            <a:lvl4pPr marL="1828754" lvl="3" indent="-285743" rtl="0">
              <a:spcBef>
                <a:spcPts val="0"/>
              </a:spcBef>
              <a:spcAft>
                <a:spcPts val="0"/>
              </a:spcAft>
              <a:buClr>
                <a:schemeClr val="dk1"/>
              </a:buClr>
              <a:buSzPts val="900"/>
              <a:buChar char="●"/>
              <a:defRPr>
                <a:solidFill>
                  <a:schemeClr val="dk1"/>
                </a:solidFill>
              </a:defRPr>
            </a:lvl4pPr>
            <a:lvl5pPr marL="2285943" lvl="4" indent="-285743" rtl="0">
              <a:spcBef>
                <a:spcPts val="0"/>
              </a:spcBef>
              <a:spcAft>
                <a:spcPts val="0"/>
              </a:spcAft>
              <a:buClr>
                <a:schemeClr val="dk1"/>
              </a:buClr>
              <a:buSzPts val="900"/>
              <a:buChar char="○"/>
              <a:defRPr>
                <a:solidFill>
                  <a:schemeClr val="dk1"/>
                </a:solidFill>
              </a:defRPr>
            </a:lvl5pPr>
            <a:lvl6pPr marL="2743132" lvl="5" indent="-285743" rtl="0">
              <a:spcBef>
                <a:spcPts val="0"/>
              </a:spcBef>
              <a:spcAft>
                <a:spcPts val="0"/>
              </a:spcAft>
              <a:buClr>
                <a:schemeClr val="dk1"/>
              </a:buClr>
              <a:buSzPts val="900"/>
              <a:buChar char="■"/>
              <a:defRPr>
                <a:solidFill>
                  <a:schemeClr val="dk1"/>
                </a:solidFill>
              </a:defRPr>
            </a:lvl6pPr>
            <a:lvl7pPr marL="3200320" lvl="6" indent="-285743" rtl="0">
              <a:spcBef>
                <a:spcPts val="0"/>
              </a:spcBef>
              <a:spcAft>
                <a:spcPts val="0"/>
              </a:spcAft>
              <a:buClr>
                <a:schemeClr val="dk1"/>
              </a:buClr>
              <a:buSzPts val="900"/>
              <a:buChar char="●"/>
              <a:defRPr>
                <a:solidFill>
                  <a:schemeClr val="dk1"/>
                </a:solidFill>
              </a:defRPr>
            </a:lvl7pPr>
            <a:lvl8pPr marL="3657509" lvl="7" indent="-285743" rtl="0">
              <a:spcBef>
                <a:spcPts val="0"/>
              </a:spcBef>
              <a:spcAft>
                <a:spcPts val="0"/>
              </a:spcAft>
              <a:buClr>
                <a:schemeClr val="dk1"/>
              </a:buClr>
              <a:buSzPts val="900"/>
              <a:buChar char="○"/>
              <a:defRPr>
                <a:solidFill>
                  <a:schemeClr val="dk1"/>
                </a:solidFill>
              </a:defRPr>
            </a:lvl8pPr>
            <a:lvl9pPr marL="4114697" lvl="8" indent="-285743" rtl="0">
              <a:spcBef>
                <a:spcPts val="0"/>
              </a:spcBef>
              <a:spcAft>
                <a:spcPts val="0"/>
              </a:spcAft>
              <a:buClr>
                <a:schemeClr val="dk1"/>
              </a:buClr>
              <a:buSzPts val="900"/>
              <a:buChar char="■"/>
              <a:defRPr>
                <a:solidFill>
                  <a:schemeClr val="dk1"/>
                </a:solidFill>
              </a:defRPr>
            </a:lvl9pPr>
          </a:lstStyle>
          <a:p>
            <a:endParaRPr/>
          </a:p>
        </p:txBody>
      </p:sp>
      <p:sp>
        <p:nvSpPr>
          <p:cNvPr id="164" name="Google Shape;164;p2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rtl="0">
              <a:buNone/>
              <a:defRPr>
                <a:solidFill>
                  <a:schemeClr val="dk1"/>
                </a:solidFill>
                <a:latin typeface="Helvetica Neue Light"/>
                <a:ea typeface="Helvetica Neue Light"/>
                <a:cs typeface="Helvetica Neue Light"/>
                <a:sym typeface="Helvetica Neue Light"/>
              </a:defRPr>
            </a:lvl1pPr>
            <a:lvl2pPr lvl="1" rtl="0">
              <a:buNone/>
              <a:defRPr>
                <a:solidFill>
                  <a:schemeClr val="dk1"/>
                </a:solidFill>
                <a:latin typeface="Helvetica Neue Light"/>
                <a:ea typeface="Helvetica Neue Light"/>
                <a:cs typeface="Helvetica Neue Light"/>
                <a:sym typeface="Helvetica Neue Light"/>
              </a:defRPr>
            </a:lvl2pPr>
            <a:lvl3pPr lvl="2" rtl="0">
              <a:buNone/>
              <a:defRPr>
                <a:solidFill>
                  <a:schemeClr val="dk1"/>
                </a:solidFill>
                <a:latin typeface="Helvetica Neue Light"/>
                <a:ea typeface="Helvetica Neue Light"/>
                <a:cs typeface="Helvetica Neue Light"/>
                <a:sym typeface="Helvetica Neue Light"/>
              </a:defRPr>
            </a:lvl3pPr>
            <a:lvl4pPr lvl="3" rtl="0">
              <a:buNone/>
              <a:defRPr>
                <a:solidFill>
                  <a:schemeClr val="dk1"/>
                </a:solidFill>
                <a:latin typeface="Helvetica Neue Light"/>
                <a:ea typeface="Helvetica Neue Light"/>
                <a:cs typeface="Helvetica Neue Light"/>
                <a:sym typeface="Helvetica Neue Light"/>
              </a:defRPr>
            </a:lvl4pPr>
            <a:lvl5pPr lvl="4" rtl="0">
              <a:buNone/>
              <a:defRPr>
                <a:solidFill>
                  <a:schemeClr val="dk1"/>
                </a:solidFill>
                <a:latin typeface="Helvetica Neue Light"/>
                <a:ea typeface="Helvetica Neue Light"/>
                <a:cs typeface="Helvetica Neue Light"/>
                <a:sym typeface="Helvetica Neue Light"/>
              </a:defRPr>
            </a:lvl5pPr>
            <a:lvl6pPr lvl="5" rtl="0">
              <a:buNone/>
              <a:defRPr>
                <a:solidFill>
                  <a:schemeClr val="dk1"/>
                </a:solidFill>
                <a:latin typeface="Helvetica Neue Light"/>
                <a:ea typeface="Helvetica Neue Light"/>
                <a:cs typeface="Helvetica Neue Light"/>
                <a:sym typeface="Helvetica Neue Light"/>
              </a:defRPr>
            </a:lvl6pPr>
            <a:lvl7pPr lvl="6" rtl="0">
              <a:buNone/>
              <a:defRPr>
                <a:solidFill>
                  <a:schemeClr val="dk1"/>
                </a:solidFill>
                <a:latin typeface="Helvetica Neue Light"/>
                <a:ea typeface="Helvetica Neue Light"/>
                <a:cs typeface="Helvetica Neue Light"/>
                <a:sym typeface="Helvetica Neue Light"/>
              </a:defRPr>
            </a:lvl7pPr>
            <a:lvl8pPr lvl="7" rtl="0">
              <a:buNone/>
              <a:defRPr>
                <a:solidFill>
                  <a:schemeClr val="dk1"/>
                </a:solidFill>
                <a:latin typeface="Helvetica Neue Light"/>
                <a:ea typeface="Helvetica Neue Light"/>
                <a:cs typeface="Helvetica Neue Light"/>
                <a:sym typeface="Helvetica Neue Light"/>
              </a:defRPr>
            </a:lvl8pPr>
            <a:lvl9pPr lvl="8" rtl="0">
              <a:buNone/>
              <a:defRPr>
                <a:solidFill>
                  <a:schemeClr val="dk1"/>
                </a:solidFill>
                <a:latin typeface="Helvetica Neue Light"/>
                <a:ea typeface="Helvetica Neue Light"/>
                <a:cs typeface="Helvetica Neue Light"/>
                <a:sym typeface="Helvetica Neue Light"/>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47833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EC222DF-4A0C-564A-BDC4-89C55FF98B72}" type="datetimeFigureOut">
              <a:rPr lang="en-US" smtClean="0"/>
              <a:t>8/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2701420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EC222DF-4A0C-564A-BDC4-89C55FF98B72}" type="datetimeFigureOut">
              <a:rPr lang="en-US" smtClean="0"/>
              <a:t>8/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1779266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EC222DF-4A0C-564A-BDC4-89C55FF98B72}" type="datetimeFigureOut">
              <a:rPr lang="en-US" smtClean="0"/>
              <a:t>8/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42030174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EC222DF-4A0C-564A-BDC4-89C55FF98B72}" type="datetimeFigureOut">
              <a:rPr lang="en-US" smtClean="0"/>
              <a:t>8/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3647730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EC222DF-4A0C-564A-BDC4-89C55FF98B72}" type="datetimeFigureOut">
              <a:rPr lang="en-US" smtClean="0"/>
              <a:t>8/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12368753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EC222DF-4A0C-564A-BDC4-89C55FF98B72}" type="datetimeFigureOut">
              <a:rPr lang="en-US" smtClean="0"/>
              <a:t>8/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757973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EC222DF-4A0C-564A-BDC4-89C55FF98B72}" type="datetimeFigureOut">
              <a:rPr lang="en-US" smtClean="0"/>
              <a:t>8/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1888764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EC222DF-4A0C-564A-BDC4-89C55FF98B72}" type="datetimeFigureOut">
              <a:rPr lang="en-US" smtClean="0"/>
              <a:t>8/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0700931-7141-904F-B72F-E2098AC593DB}" type="slidenum">
              <a:rPr lang="en-US" smtClean="0"/>
              <a:t>‹#›</a:t>
            </a:fld>
            <a:endParaRPr lang="en-US"/>
          </a:p>
        </p:txBody>
      </p:sp>
    </p:spTree>
    <p:extLst>
      <p:ext uri="{BB962C8B-B14F-4D97-AF65-F5344CB8AC3E}">
        <p14:creationId xmlns:p14="http://schemas.microsoft.com/office/powerpoint/2010/main" val="75903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EC222DF-4A0C-564A-BDC4-89C55FF98B72}" type="datetimeFigureOut">
              <a:rPr lang="en-US" smtClean="0"/>
              <a:t>8/1/2023</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B0700931-7141-904F-B72F-E2098AC593DB}" type="slidenum">
              <a:rPr lang="en-US" smtClean="0"/>
              <a:t>‹#›</a:t>
            </a:fld>
            <a:endParaRPr lang="en-US"/>
          </a:p>
        </p:txBody>
      </p:sp>
    </p:spTree>
    <p:extLst>
      <p:ext uri="{BB962C8B-B14F-4D97-AF65-F5344CB8AC3E}">
        <p14:creationId xmlns:p14="http://schemas.microsoft.com/office/powerpoint/2010/main" val="6266368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8" Type="http://schemas.openxmlformats.org/officeDocument/2006/relationships/hyperlink" Target="https://www.gartner.com/explore/initiatives/overview/54774" TargetMode="External"/><Relationship Id="rId13" Type="http://schemas.openxmlformats.org/officeDocument/2006/relationships/hyperlink" Target="https://www.gartner.com/explore/initiatives/overview/16093" TargetMode="External"/><Relationship Id="rId3" Type="http://schemas.openxmlformats.org/officeDocument/2006/relationships/hyperlink" Target="https://www.gartner.com/search/research?fc=facetResearchMethod:%22Expert%20Research%22&amp;fc=facetKi:%22Application%20Architecture%20and%20Platforms%20for%20Technical%20Professionals%22&amp;ref=qlinks&amp;st=dispDate%20desc" TargetMode="External"/><Relationship Id="rId7" Type="http://schemas.openxmlformats.org/officeDocument/2006/relationships/hyperlink" Target="https://www.gartner.com/explore/initiatives/overview/16090" TargetMode="External"/><Relationship Id="rId12" Type="http://schemas.openxmlformats.org/officeDocument/2006/relationships/hyperlink" Target="https://www.gartner.com/explore/initiatives/overview/16097" TargetMode="Externa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hyperlink" Target="https://www.gartner.com/explore/initiatives/overview/16080" TargetMode="External"/><Relationship Id="rId11" Type="http://schemas.openxmlformats.org/officeDocument/2006/relationships/hyperlink" Target="https://www.gartner.com/explore/initiatives/overview/21247" TargetMode="External"/><Relationship Id="rId5" Type="http://schemas.openxmlformats.org/officeDocument/2006/relationships/hyperlink" Target="https://www.gartner.com/explore/initiatives/overview/16082" TargetMode="External"/><Relationship Id="rId10" Type="http://schemas.openxmlformats.org/officeDocument/2006/relationships/hyperlink" Target="https://www.gartner.com/explore/initiatives/overview/16091" TargetMode="External"/><Relationship Id="rId4" Type="http://schemas.openxmlformats.org/officeDocument/2006/relationships/hyperlink" Target="https://www.gartner.com/explore/initiatives/overview/16087" TargetMode="External"/><Relationship Id="rId9" Type="http://schemas.openxmlformats.org/officeDocument/2006/relationships/hyperlink" Target="https://www.gartner.com/explore/initiatives/overview/16083"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mailto:Denise.Cushaney@gartner.com"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0.jpg"/></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0.jpg"/></Relationships>
</file>

<file path=ppt/slides/_rels/slide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0.jp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2.gif"/></Relationships>
</file>

<file path=ppt/slides/_rels/slide2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3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3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4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hyperlink" Target="https://cit.illinoisstate.edu/awards/"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help.illinoisstate.edu/technology/support-topics/canvas" TargetMode="External"/><Relationship Id="rId5" Type="http://schemas.openxmlformats.org/officeDocument/2006/relationships/hyperlink" Target="http://www.ilstu.edu/quickstart" TargetMode="External"/><Relationship Id="rId4" Type="http://schemas.openxmlformats.org/officeDocument/2006/relationships/hyperlink" Target="https://prodev.illinoisstate.edu/canva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dbackgroun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Tree>
    <p:extLst>
      <p:ext uri="{BB962C8B-B14F-4D97-AF65-F5344CB8AC3E}">
        <p14:creationId xmlns:p14="http://schemas.microsoft.com/office/powerpoint/2010/main" val="436015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D517272-3A8C-1051-0786-637DC444BB6D}"/>
              </a:ext>
            </a:extLst>
          </p:cNvPr>
          <p:cNvSpPr/>
          <p:nvPr/>
        </p:nvSpPr>
        <p:spPr>
          <a:xfrm>
            <a:off x="239537" y="2107834"/>
            <a:ext cx="8656646" cy="2414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graphicFrame>
        <p:nvGraphicFramePr>
          <p:cNvPr id="35" name="Object 34" hidden="1"/>
          <p:cNvGraphicFramePr>
            <a:graphicFrameLocks noChangeAspect="1"/>
          </p:cNvGraphicFramePr>
          <p:nvPr>
            <p:custDataLst>
              <p:tags r:id="rId1"/>
            </p:custDataLst>
          </p:nvPr>
        </p:nvGraphicFramePr>
        <p:xfrm>
          <a:off x="1" y="2"/>
          <a:ext cx="158750" cy="119063"/>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5" name="Object 3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2"/>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04E2EB65-7096-4331-93FE-F6C2E319E983}"/>
              </a:ext>
            </a:extLst>
          </p:cNvPr>
          <p:cNvSpPr/>
          <p:nvPr>
            <p:custDataLst>
              <p:tags r:id="rId2"/>
            </p:custDataLst>
          </p:nvPr>
        </p:nvSpPr>
        <p:spPr>
          <a:xfrm>
            <a:off x="0" y="0"/>
            <a:ext cx="119063" cy="11906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eaLnBrk="0" fontAlgn="base" hangingPunct="0">
              <a:lnSpc>
                <a:spcPct val="90000"/>
              </a:lnSpc>
              <a:spcBef>
                <a:spcPct val="30000"/>
              </a:spcBef>
              <a:spcAft>
                <a:spcPct val="10000"/>
              </a:spcAft>
              <a:defRPr/>
            </a:pPr>
            <a:endParaRPr lang="en-US" sz="2100">
              <a:solidFill>
                <a:srgbClr val="000000"/>
              </a:solidFill>
              <a:latin typeface="Arial Black" panose="020B0A04020102020204" pitchFamily="34" charset="0"/>
              <a:sym typeface="Arial Black" panose="020B0A04020102020204" pitchFamily="34" charset="0"/>
            </a:endParaRPr>
          </a:p>
        </p:txBody>
      </p:sp>
      <p:sp>
        <p:nvSpPr>
          <p:cNvPr id="405506" name="Rectangle 2"/>
          <p:cNvSpPr>
            <a:spLocks noGrp="1" noChangeArrowheads="1"/>
          </p:cNvSpPr>
          <p:nvPr>
            <p:ph type="title"/>
          </p:nvPr>
        </p:nvSpPr>
        <p:spPr>
          <a:xfrm>
            <a:off x="152194" y="75052"/>
            <a:ext cx="8485046" cy="723781"/>
          </a:xfrm>
        </p:spPr>
        <p:txBody>
          <a:bodyPr>
            <a:normAutofit fontScale="90000"/>
          </a:bodyPr>
          <a:lstStyle/>
          <a:p>
            <a:pPr>
              <a:lnSpc>
                <a:spcPct val="100000"/>
              </a:lnSpc>
            </a:pPr>
            <a:r>
              <a:rPr lang="en-US" sz="2100" dirty="0"/>
              <a:t>You and your team have access to actionable insights and support for technical implementation and execution</a:t>
            </a:r>
          </a:p>
        </p:txBody>
      </p:sp>
      <p:sp>
        <p:nvSpPr>
          <p:cNvPr id="17" name="Rectangle 16"/>
          <p:cNvSpPr/>
          <p:nvPr/>
        </p:nvSpPr>
        <p:spPr>
          <a:xfrm>
            <a:off x="377940" y="1295651"/>
            <a:ext cx="2022593" cy="258532"/>
          </a:xfrm>
          <a:prstGeom prst="rect">
            <a:avLst/>
          </a:prstGeom>
        </p:spPr>
        <p:txBody>
          <a:bodyPr wrap="square">
            <a:spAutoFit/>
          </a:bodyPr>
          <a:lstStyle/>
          <a:p>
            <a:pPr algn="ctr" defTabSz="685800" eaLnBrk="0" fontAlgn="base" hangingPunct="0">
              <a:lnSpc>
                <a:spcPct val="90000"/>
              </a:lnSpc>
              <a:spcBef>
                <a:spcPct val="30000"/>
              </a:spcBef>
              <a:spcAft>
                <a:spcPct val="10000"/>
              </a:spcAft>
              <a:defRPr/>
            </a:pPr>
            <a:r>
              <a:rPr lang="en-US" sz="1200" b="1" kern="0">
                <a:solidFill>
                  <a:srgbClr val="FFFFFF"/>
                </a:solidFill>
                <a:latin typeface="Arial" charset="0"/>
                <a:ea typeface="Arial Unicode MS" pitchFamily="34" charset="-128"/>
              </a:rPr>
              <a:t>Plan</a:t>
            </a:r>
            <a:endParaRPr lang="en-US" sz="1200" b="1">
              <a:solidFill>
                <a:srgbClr val="FFFFFF"/>
              </a:solidFill>
              <a:latin typeface="Arial" charset="0"/>
              <a:ea typeface="Arial Unicode MS" pitchFamily="34" charset="-128"/>
            </a:endParaRPr>
          </a:p>
        </p:txBody>
      </p:sp>
      <p:sp>
        <p:nvSpPr>
          <p:cNvPr id="18" name="Rectangle 17"/>
          <p:cNvSpPr/>
          <p:nvPr/>
        </p:nvSpPr>
        <p:spPr>
          <a:xfrm>
            <a:off x="4675330" y="1295651"/>
            <a:ext cx="2026353" cy="258532"/>
          </a:xfrm>
          <a:prstGeom prst="rect">
            <a:avLst/>
          </a:prstGeom>
        </p:spPr>
        <p:txBody>
          <a:bodyPr wrap="square">
            <a:spAutoFit/>
          </a:bodyPr>
          <a:lstStyle/>
          <a:p>
            <a:pPr algn="ctr" defTabSz="685800" eaLnBrk="0" fontAlgn="base" hangingPunct="0">
              <a:lnSpc>
                <a:spcPct val="90000"/>
              </a:lnSpc>
              <a:spcBef>
                <a:spcPct val="30000"/>
              </a:spcBef>
              <a:spcAft>
                <a:spcPct val="10000"/>
              </a:spcAft>
              <a:defRPr/>
            </a:pPr>
            <a:r>
              <a:rPr lang="en-US" sz="1200" b="1" kern="0">
                <a:solidFill>
                  <a:srgbClr val="FFFFFF"/>
                </a:solidFill>
                <a:latin typeface="Arial" charset="0"/>
                <a:ea typeface="Arial Unicode MS" pitchFamily="34" charset="-128"/>
              </a:rPr>
              <a:t>Design</a:t>
            </a:r>
            <a:endParaRPr lang="en-US" sz="1200" b="1">
              <a:solidFill>
                <a:srgbClr val="FFFFFF"/>
              </a:solidFill>
              <a:latin typeface="Arial" charset="0"/>
              <a:ea typeface="Arial Unicode MS" pitchFamily="34" charset="-128"/>
            </a:endParaRPr>
          </a:p>
        </p:txBody>
      </p:sp>
      <p:sp>
        <p:nvSpPr>
          <p:cNvPr id="19" name="Rectangle 18"/>
          <p:cNvSpPr/>
          <p:nvPr/>
        </p:nvSpPr>
        <p:spPr>
          <a:xfrm>
            <a:off x="2523026" y="1295651"/>
            <a:ext cx="2022593" cy="258532"/>
          </a:xfrm>
          <a:prstGeom prst="rect">
            <a:avLst/>
          </a:prstGeom>
        </p:spPr>
        <p:txBody>
          <a:bodyPr wrap="square">
            <a:spAutoFit/>
          </a:bodyPr>
          <a:lstStyle/>
          <a:p>
            <a:pPr algn="ctr" defTabSz="685800" eaLnBrk="0" fontAlgn="base" hangingPunct="0">
              <a:lnSpc>
                <a:spcPct val="90000"/>
              </a:lnSpc>
              <a:spcBef>
                <a:spcPct val="30000"/>
              </a:spcBef>
              <a:spcAft>
                <a:spcPct val="10000"/>
              </a:spcAft>
              <a:defRPr/>
            </a:pPr>
            <a:r>
              <a:rPr lang="en-US" sz="1200" b="1" kern="0">
                <a:solidFill>
                  <a:srgbClr val="FFFFFF"/>
                </a:solidFill>
                <a:latin typeface="Arial" charset="0"/>
                <a:ea typeface="Arial Unicode MS" pitchFamily="34" charset="-128"/>
              </a:rPr>
              <a:t>Assess</a:t>
            </a:r>
            <a:endParaRPr lang="en-US" sz="1200" b="1">
              <a:solidFill>
                <a:srgbClr val="FFFFFF"/>
              </a:solidFill>
              <a:latin typeface="Arial" charset="0"/>
              <a:ea typeface="Arial Unicode MS" pitchFamily="34" charset="-128"/>
            </a:endParaRPr>
          </a:p>
        </p:txBody>
      </p:sp>
      <p:sp>
        <p:nvSpPr>
          <p:cNvPr id="21" name="Pentagon 20"/>
          <p:cNvSpPr/>
          <p:nvPr/>
        </p:nvSpPr>
        <p:spPr bwMode="auto">
          <a:xfrm>
            <a:off x="239537" y="1538677"/>
            <a:ext cx="2923541" cy="569471"/>
          </a:xfrm>
          <a:prstGeom prst="homePlate">
            <a:avLst>
              <a:gd name="adj" fmla="val 35106"/>
            </a:avLst>
          </a:prstGeom>
          <a:solidFill>
            <a:schemeClr val="accent4"/>
          </a:solidFill>
          <a:ln w="1587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45718" defTabSz="685800" eaLnBrk="0" fontAlgn="base" hangingPunct="0">
              <a:lnSpc>
                <a:spcPct val="90000"/>
              </a:lnSpc>
              <a:spcBef>
                <a:spcPct val="30000"/>
              </a:spcBef>
              <a:spcAft>
                <a:spcPct val="10000"/>
              </a:spcAft>
              <a:defRPr/>
            </a:pPr>
            <a:r>
              <a:rPr lang="en-US" sz="1350" b="1" kern="100" spc="-40">
                <a:solidFill>
                  <a:srgbClr val="FFFFFF"/>
                </a:solidFill>
                <a:latin typeface="Arial" charset="0"/>
                <a:ea typeface="Arial Unicode MS" pitchFamily="34" charset="-128"/>
              </a:rPr>
              <a:t>Business and IT Strategy</a:t>
            </a:r>
          </a:p>
        </p:txBody>
      </p:sp>
      <p:sp>
        <p:nvSpPr>
          <p:cNvPr id="23" name="Chevron 22"/>
          <p:cNvSpPr/>
          <p:nvPr/>
        </p:nvSpPr>
        <p:spPr bwMode="auto">
          <a:xfrm>
            <a:off x="2904153" y="1538363"/>
            <a:ext cx="3309889" cy="569471"/>
          </a:xfrm>
          <a:prstGeom prst="chevron">
            <a:avLst>
              <a:gd name="adj" fmla="val 35106"/>
            </a:avLst>
          </a:prstGeom>
          <a:solidFill>
            <a:schemeClr val="accent4"/>
          </a:solidFill>
          <a:ln w="1587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45718" defTabSz="685800" eaLnBrk="0" fontAlgn="base" hangingPunct="0">
              <a:lnSpc>
                <a:spcPct val="90000"/>
              </a:lnSpc>
              <a:spcBef>
                <a:spcPct val="30000"/>
              </a:spcBef>
              <a:spcAft>
                <a:spcPct val="10000"/>
              </a:spcAft>
              <a:defRPr/>
            </a:pPr>
            <a:r>
              <a:rPr lang="en-US" sz="1350" b="1" kern="100" spc="-40">
                <a:solidFill>
                  <a:srgbClr val="FFFFFF"/>
                </a:solidFill>
                <a:latin typeface="Arial" charset="0"/>
                <a:ea typeface="Arial Unicode MS" pitchFamily="34" charset="-128"/>
              </a:rPr>
              <a:t>Planning and Management</a:t>
            </a:r>
          </a:p>
        </p:txBody>
      </p:sp>
      <p:sp>
        <p:nvSpPr>
          <p:cNvPr id="25" name="Chevron 24"/>
          <p:cNvSpPr/>
          <p:nvPr/>
        </p:nvSpPr>
        <p:spPr bwMode="auto">
          <a:xfrm>
            <a:off x="5712422" y="1538677"/>
            <a:ext cx="3183761" cy="569471"/>
          </a:xfrm>
          <a:prstGeom prst="chevron">
            <a:avLst>
              <a:gd name="adj" fmla="val 35106"/>
            </a:avLst>
          </a:prstGeom>
          <a:solidFill>
            <a:schemeClr val="accent4"/>
          </a:solidFill>
          <a:ln w="15875" cap="flat" cmpd="sng" algn="ctr">
            <a:solidFill>
              <a:schemeClr val="bg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noAutofit/>
          </a:bodyPr>
          <a:lstStyle/>
          <a:p>
            <a:pPr marL="126206" defTabSz="685800" eaLnBrk="0" fontAlgn="base" hangingPunct="0">
              <a:lnSpc>
                <a:spcPct val="90000"/>
              </a:lnSpc>
              <a:spcBef>
                <a:spcPct val="30000"/>
              </a:spcBef>
              <a:spcAft>
                <a:spcPct val="10000"/>
              </a:spcAft>
              <a:defRPr/>
            </a:pPr>
            <a:r>
              <a:rPr lang="en-US" sz="1350" b="1" kern="100" spc="-40">
                <a:solidFill>
                  <a:srgbClr val="FFFFFF"/>
                </a:solidFill>
                <a:latin typeface="Arial" charset="0"/>
                <a:ea typeface="Arial Unicode MS" pitchFamily="34" charset="-128"/>
              </a:rPr>
              <a:t>Technical Implementation and Execution</a:t>
            </a:r>
          </a:p>
        </p:txBody>
      </p:sp>
      <p:sp>
        <p:nvSpPr>
          <p:cNvPr id="51" name="TextBox 50">
            <a:extLst>
              <a:ext uri="{FF2B5EF4-FFF2-40B4-BE49-F238E27FC236}">
                <a16:creationId xmlns:a16="http://schemas.microsoft.com/office/drawing/2014/main" id="{9BBF687D-E5AF-4980-A369-473A49B02EDC}"/>
              </a:ext>
            </a:extLst>
          </p:cNvPr>
          <p:cNvSpPr txBox="1"/>
          <p:nvPr/>
        </p:nvSpPr>
        <p:spPr>
          <a:xfrm>
            <a:off x="240017" y="984962"/>
            <a:ext cx="2664137" cy="363474"/>
          </a:xfrm>
          <a:prstGeom prst="rect">
            <a:avLst/>
          </a:prstGeom>
          <a:solidFill>
            <a:schemeClr val="tx2"/>
          </a:solidFill>
          <a:ln>
            <a:solidFill>
              <a:schemeClr val="accent1"/>
            </a:solidFill>
          </a:ln>
        </p:spPr>
        <p:txBody>
          <a:bodyPr wrap="square" rtlCol="0" anchor="ctr" anchorCtr="0">
            <a:noAutofit/>
          </a:bodyPr>
          <a:lstStyle/>
          <a:p>
            <a:pPr algn="ctr" defTabSz="685800" eaLnBrk="0" fontAlgn="base" hangingPunct="0">
              <a:lnSpc>
                <a:spcPct val="90000"/>
              </a:lnSpc>
              <a:spcBef>
                <a:spcPct val="30000"/>
              </a:spcBef>
              <a:spcAft>
                <a:spcPct val="10000"/>
              </a:spcAft>
              <a:defRPr/>
            </a:pPr>
            <a:r>
              <a:rPr lang="en-US" sz="1200" b="1">
                <a:solidFill>
                  <a:schemeClr val="bg1"/>
                </a:solidFill>
                <a:latin typeface="Arial" charset="0"/>
                <a:ea typeface="Arial Unicode MS" pitchFamily="34" charset="-128"/>
              </a:rPr>
              <a:t>Lead Role </a:t>
            </a:r>
            <a:br>
              <a:rPr lang="en-US" sz="1200" b="1">
                <a:solidFill>
                  <a:schemeClr val="bg1"/>
                </a:solidFill>
                <a:latin typeface="Arial" charset="0"/>
                <a:ea typeface="Arial Unicode MS" pitchFamily="34" charset="-128"/>
              </a:rPr>
            </a:br>
            <a:r>
              <a:rPr lang="en-US" sz="1200" b="1">
                <a:solidFill>
                  <a:schemeClr val="bg1"/>
                </a:solidFill>
                <a:latin typeface="Arial" charset="0"/>
                <a:ea typeface="Arial Unicode MS" pitchFamily="34" charset="-128"/>
              </a:rPr>
              <a:t>(CIO, CISO, CDAO, SWEL)</a:t>
            </a:r>
          </a:p>
        </p:txBody>
      </p:sp>
      <p:sp>
        <p:nvSpPr>
          <p:cNvPr id="52" name="TextBox 51">
            <a:extLst>
              <a:ext uri="{FF2B5EF4-FFF2-40B4-BE49-F238E27FC236}">
                <a16:creationId xmlns:a16="http://schemas.microsoft.com/office/drawing/2014/main" id="{E4950460-1568-4002-B777-97543E57F33B}"/>
              </a:ext>
            </a:extLst>
          </p:cNvPr>
          <p:cNvSpPr txBox="1"/>
          <p:nvPr/>
        </p:nvSpPr>
        <p:spPr>
          <a:xfrm>
            <a:off x="5738327" y="984962"/>
            <a:ext cx="3157857" cy="363474"/>
          </a:xfrm>
          <a:prstGeom prst="rect">
            <a:avLst/>
          </a:prstGeom>
          <a:solidFill>
            <a:schemeClr val="tx2"/>
          </a:solidFill>
          <a:ln>
            <a:solidFill>
              <a:srgbClr val="002856"/>
            </a:solidFill>
          </a:ln>
        </p:spPr>
        <p:txBody>
          <a:bodyPr wrap="square" rtlCol="0" anchor="ctr" anchorCtr="0">
            <a:noAutofit/>
          </a:bodyPr>
          <a:lstStyle/>
          <a:p>
            <a:pPr algn="ctr" defTabSz="685800" eaLnBrk="0" fontAlgn="base" hangingPunct="0">
              <a:lnSpc>
                <a:spcPct val="90000"/>
              </a:lnSpc>
              <a:spcBef>
                <a:spcPct val="30000"/>
              </a:spcBef>
              <a:spcAft>
                <a:spcPct val="10000"/>
              </a:spcAft>
              <a:defRPr/>
            </a:pPr>
            <a:r>
              <a:rPr lang="en-US" sz="1200" b="1">
                <a:solidFill>
                  <a:schemeClr val="bg1"/>
                </a:solidFill>
                <a:latin typeface="Arial" charset="0"/>
                <a:ea typeface="Arial Unicode MS" pitchFamily="34" charset="-128"/>
              </a:rPr>
              <a:t>Technical Domain Architect</a:t>
            </a:r>
          </a:p>
        </p:txBody>
      </p:sp>
      <p:sp>
        <p:nvSpPr>
          <p:cNvPr id="20" name="Content Placeholder 2">
            <a:extLst>
              <a:ext uri="{FF2B5EF4-FFF2-40B4-BE49-F238E27FC236}">
                <a16:creationId xmlns:a16="http://schemas.microsoft.com/office/drawing/2014/main" id="{F3652B21-E487-4FC5-A454-09EAD8FA2A81}"/>
              </a:ext>
            </a:extLst>
          </p:cNvPr>
          <p:cNvSpPr txBox="1">
            <a:spLocks/>
          </p:cNvSpPr>
          <p:nvPr/>
        </p:nvSpPr>
        <p:spPr>
          <a:xfrm>
            <a:off x="258972" y="2190827"/>
            <a:ext cx="2743200" cy="2172617"/>
          </a:xfrm>
          <a:prstGeom prst="rect">
            <a:avLst/>
          </a:prstGeom>
        </p:spPr>
        <p:txBody>
          <a:bodyPr/>
          <a:lst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Aft>
                <a:spcPts val="900"/>
              </a:spcAft>
              <a:buClr>
                <a:srgbClr val="002856"/>
              </a:buClr>
              <a:buSzPct val="100000"/>
              <a:buFont typeface="Arial" panose="020B0604020202020204" pitchFamily="34" charset="0"/>
              <a:buChar char="•"/>
              <a:defRPr/>
            </a:pPr>
            <a:r>
              <a:rPr lang="en-US" sz="1125">
                <a:solidFill>
                  <a:prstClr val="black"/>
                </a:solidFill>
                <a:latin typeface="Arial" panose="020B0604020202020204"/>
              </a:rPr>
              <a:t>Anticipate the Future</a:t>
            </a:r>
          </a:p>
          <a:p>
            <a:pPr marL="171450" indent="-171450" defTabSz="685800">
              <a:spcAft>
                <a:spcPts val="900"/>
              </a:spcAft>
              <a:buClr>
                <a:srgbClr val="002856"/>
              </a:buClr>
              <a:buSzPct val="100000"/>
              <a:buFont typeface="Arial" panose="020B0604020202020204" pitchFamily="34" charset="0"/>
              <a:buChar char="•"/>
              <a:defRPr/>
            </a:pPr>
            <a:r>
              <a:rPr lang="en-US" sz="1125">
                <a:solidFill>
                  <a:prstClr val="black"/>
                </a:solidFill>
                <a:latin typeface="Arial" panose="020B0604020202020204"/>
              </a:rPr>
              <a:t>Enable Business Change Through Technology</a:t>
            </a:r>
          </a:p>
          <a:p>
            <a:pPr marL="171450" indent="-171450" defTabSz="685800">
              <a:spcAft>
                <a:spcPts val="900"/>
              </a:spcAft>
              <a:buClr>
                <a:srgbClr val="002856"/>
              </a:buClr>
              <a:buSzPct val="100000"/>
              <a:buFont typeface="Arial" panose="020B0604020202020204" pitchFamily="34" charset="0"/>
              <a:buChar char="•"/>
              <a:defRPr/>
            </a:pPr>
            <a:r>
              <a:rPr lang="en-US" sz="1125">
                <a:solidFill>
                  <a:prstClr val="black"/>
                </a:solidFill>
                <a:latin typeface="Arial" panose="020B0604020202020204"/>
              </a:rPr>
              <a:t>Drive Innovation</a:t>
            </a:r>
          </a:p>
          <a:p>
            <a:pPr marL="171450" indent="-171450" defTabSz="685800">
              <a:spcAft>
                <a:spcPts val="900"/>
              </a:spcAft>
              <a:buClr>
                <a:srgbClr val="002856"/>
              </a:buClr>
              <a:buSzPct val="100000"/>
              <a:buFont typeface="Arial" panose="020B0604020202020204" pitchFamily="34" charset="0"/>
              <a:buChar char="•"/>
              <a:defRPr/>
            </a:pPr>
            <a:r>
              <a:rPr lang="en-US" sz="1125">
                <a:solidFill>
                  <a:prstClr val="black"/>
                </a:solidFill>
                <a:latin typeface="Arial" panose="020B0604020202020204"/>
              </a:rPr>
              <a:t>Optimize Org Structures</a:t>
            </a:r>
          </a:p>
          <a:p>
            <a:pPr marL="171450" indent="-171450" defTabSz="685800">
              <a:spcAft>
                <a:spcPts val="900"/>
              </a:spcAft>
              <a:buClr>
                <a:srgbClr val="002856"/>
              </a:buClr>
              <a:buSzPct val="100000"/>
              <a:buFont typeface="Arial" panose="020B0604020202020204" pitchFamily="34" charset="0"/>
              <a:buChar char="•"/>
              <a:defRPr/>
            </a:pPr>
            <a:r>
              <a:rPr lang="en-US" sz="1125">
                <a:solidFill>
                  <a:prstClr val="black"/>
                </a:solidFill>
                <a:latin typeface="Arial" panose="020B0604020202020204"/>
              </a:rPr>
              <a:t>Reduce/Avoid Costs</a:t>
            </a:r>
          </a:p>
          <a:p>
            <a:pPr marL="171450" indent="-171450" defTabSz="685800">
              <a:spcAft>
                <a:spcPts val="900"/>
              </a:spcAft>
              <a:buClr>
                <a:srgbClr val="002856"/>
              </a:buClr>
              <a:buSzPct val="100000"/>
              <a:buFont typeface="Arial" panose="020B0604020202020204" pitchFamily="34" charset="0"/>
              <a:buChar char="•"/>
              <a:defRPr/>
            </a:pPr>
            <a:r>
              <a:rPr lang="en-US" sz="1125">
                <a:solidFill>
                  <a:prstClr val="black"/>
                </a:solidFill>
                <a:latin typeface="Arial" panose="020B0604020202020204"/>
              </a:rPr>
              <a:t>Insights Into Best Practices</a:t>
            </a:r>
          </a:p>
          <a:p>
            <a:pPr marL="171450" indent="-171450" defTabSz="685800">
              <a:spcAft>
                <a:spcPts val="900"/>
              </a:spcAft>
              <a:buClr>
                <a:srgbClr val="002856"/>
              </a:buClr>
              <a:buSzPct val="100000"/>
              <a:buFont typeface="Arial" panose="020B0604020202020204" pitchFamily="34" charset="0"/>
              <a:buChar char="•"/>
              <a:defRPr/>
            </a:pPr>
            <a:r>
              <a:rPr lang="en-US" sz="1125">
                <a:solidFill>
                  <a:prstClr val="black"/>
                </a:solidFill>
                <a:latin typeface="Arial" panose="020B0604020202020204"/>
              </a:rPr>
              <a:t>Connect With Peer in Similar Roles</a:t>
            </a:r>
          </a:p>
        </p:txBody>
      </p:sp>
      <p:sp>
        <p:nvSpPr>
          <p:cNvPr id="22" name="Content Placeholder 2">
            <a:extLst>
              <a:ext uri="{FF2B5EF4-FFF2-40B4-BE49-F238E27FC236}">
                <a16:creationId xmlns:a16="http://schemas.microsoft.com/office/drawing/2014/main" id="{EC065B67-7C96-4407-884F-87EAA6A3D5F9}"/>
              </a:ext>
            </a:extLst>
          </p:cNvPr>
          <p:cNvSpPr txBox="1">
            <a:spLocks/>
          </p:cNvSpPr>
          <p:nvPr/>
        </p:nvSpPr>
        <p:spPr>
          <a:xfrm>
            <a:off x="6006270" y="2190827"/>
            <a:ext cx="2743200" cy="242082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Create the Technical Strategy</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Optimize Technical Architectures</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Assess, Select &amp; Deploy Technologies </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Develop &amp; Execute Project Roadmaps</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Skills Development</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Insights Into Best Practices</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Connect With Peers in Similar Roles</a:t>
            </a:r>
          </a:p>
        </p:txBody>
      </p:sp>
      <p:sp>
        <p:nvSpPr>
          <p:cNvPr id="24" name="Content Placeholder 2">
            <a:extLst>
              <a:ext uri="{FF2B5EF4-FFF2-40B4-BE49-F238E27FC236}">
                <a16:creationId xmlns:a16="http://schemas.microsoft.com/office/drawing/2014/main" id="{4E4087DC-7B08-494E-809B-B2C6DD64B053}"/>
              </a:ext>
            </a:extLst>
          </p:cNvPr>
          <p:cNvSpPr txBox="1">
            <a:spLocks/>
          </p:cNvSpPr>
          <p:nvPr/>
        </p:nvSpPr>
        <p:spPr>
          <a:xfrm>
            <a:off x="3023117" y="2190827"/>
            <a:ext cx="2743200" cy="241486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Clarity Within the Vendor Landscape</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Optimize Contract Negotiations</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IT Spending &amp; Benchmarks Data for Better Decision Making</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Business of IT topics – SVM, PPM</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Insights Into Best Practices</a:t>
            </a:r>
          </a:p>
          <a:p>
            <a:pPr marL="171450" indent="-171450" defTabSz="685800">
              <a:spcAft>
                <a:spcPts val="900"/>
              </a:spcAft>
              <a:buClr>
                <a:srgbClr val="002856"/>
              </a:buClr>
              <a:buSzPct val="100000"/>
              <a:buFont typeface="Arial" panose="020B0604020202020204" pitchFamily="34" charset="0"/>
              <a:buChar char="•"/>
              <a:defRPr/>
            </a:pPr>
            <a:r>
              <a:rPr lang="en-US" sz="1125">
                <a:solidFill>
                  <a:srgbClr val="000000"/>
                </a:solidFill>
                <a:latin typeface="Arial" panose="020B0604020202020204"/>
              </a:rPr>
              <a:t>Connect With Peers in Similar Roles</a:t>
            </a:r>
          </a:p>
        </p:txBody>
      </p:sp>
      <p:sp>
        <p:nvSpPr>
          <p:cNvPr id="3" name="TextBox 2">
            <a:extLst>
              <a:ext uri="{FF2B5EF4-FFF2-40B4-BE49-F238E27FC236}">
                <a16:creationId xmlns:a16="http://schemas.microsoft.com/office/drawing/2014/main" id="{BD3E3B1F-ACE3-B4D6-D200-FF51B24F08E1}"/>
              </a:ext>
            </a:extLst>
          </p:cNvPr>
          <p:cNvSpPr txBox="1"/>
          <p:nvPr/>
        </p:nvSpPr>
        <p:spPr>
          <a:xfrm>
            <a:off x="2904153" y="984962"/>
            <a:ext cx="2834174" cy="363474"/>
          </a:xfrm>
          <a:prstGeom prst="rect">
            <a:avLst/>
          </a:prstGeom>
          <a:solidFill>
            <a:schemeClr val="tx2"/>
          </a:solidFill>
          <a:ln>
            <a:solidFill>
              <a:schemeClr val="accent1"/>
            </a:solidFill>
          </a:ln>
        </p:spPr>
        <p:txBody>
          <a:bodyPr wrap="square" rtlCol="0" anchor="ctr" anchorCtr="0">
            <a:noAutofit/>
          </a:bodyPr>
          <a:lstStyle/>
          <a:p>
            <a:pPr algn="ctr" defTabSz="685800" eaLnBrk="0" fontAlgn="base" hangingPunct="0">
              <a:lnSpc>
                <a:spcPct val="90000"/>
              </a:lnSpc>
              <a:spcBef>
                <a:spcPct val="30000"/>
              </a:spcBef>
              <a:spcAft>
                <a:spcPct val="10000"/>
              </a:spcAft>
              <a:defRPr/>
            </a:pPr>
            <a:r>
              <a:rPr lang="en-US" sz="1200" b="1">
                <a:solidFill>
                  <a:schemeClr val="bg1"/>
                </a:solidFill>
                <a:latin typeface="Arial" charset="0"/>
                <a:ea typeface="Arial Unicode MS" pitchFamily="34" charset="-128"/>
              </a:rPr>
              <a:t>Senior Technology Leader</a:t>
            </a:r>
          </a:p>
        </p:txBody>
      </p:sp>
      <p:cxnSp>
        <p:nvCxnSpPr>
          <p:cNvPr id="5" name="Straight Connector 4">
            <a:extLst>
              <a:ext uri="{FF2B5EF4-FFF2-40B4-BE49-F238E27FC236}">
                <a16:creationId xmlns:a16="http://schemas.microsoft.com/office/drawing/2014/main" id="{5DBECE5A-41AA-F1F4-DBE4-9A86C85B43CD}"/>
              </a:ext>
            </a:extLst>
          </p:cNvPr>
          <p:cNvCxnSpPr/>
          <p:nvPr/>
        </p:nvCxnSpPr>
        <p:spPr>
          <a:xfrm>
            <a:off x="2904153" y="984962"/>
            <a:ext cx="0" cy="363474"/>
          </a:xfrm>
          <a:prstGeom prst="line">
            <a:avLst/>
          </a:prstGeom>
          <a:noFill/>
          <a:ln w="38100" cap="flat" cmpd="sng">
            <a:solidFill>
              <a:schemeClr val="bg1"/>
            </a:solidFill>
            <a:prstDash val="solid"/>
            <a:round/>
            <a:headEnd type="none" w="lg" len="med"/>
            <a:tailEnd type="none" w="lg" len="med"/>
          </a:ln>
        </p:spPr>
      </p:cxnSp>
      <p:cxnSp>
        <p:nvCxnSpPr>
          <p:cNvPr id="6" name="Straight Connector 5">
            <a:extLst>
              <a:ext uri="{FF2B5EF4-FFF2-40B4-BE49-F238E27FC236}">
                <a16:creationId xmlns:a16="http://schemas.microsoft.com/office/drawing/2014/main" id="{3D47C7FF-A706-0BAF-2A74-6A255DB43844}"/>
              </a:ext>
            </a:extLst>
          </p:cNvPr>
          <p:cNvCxnSpPr/>
          <p:nvPr/>
        </p:nvCxnSpPr>
        <p:spPr>
          <a:xfrm>
            <a:off x="5712422" y="984962"/>
            <a:ext cx="0" cy="363474"/>
          </a:xfrm>
          <a:prstGeom prst="line">
            <a:avLst/>
          </a:prstGeom>
          <a:noFill/>
          <a:ln w="38100" cap="flat" cmpd="sng">
            <a:solidFill>
              <a:schemeClr val="bg1"/>
            </a:solidFill>
            <a:prstDash val="solid"/>
            <a:round/>
            <a:headEnd type="none" w="lg" len="med"/>
            <a:tailEnd type="none" w="lg" len="med"/>
          </a:ln>
        </p:spPr>
      </p:cxnSp>
      <p:sp>
        <p:nvSpPr>
          <p:cNvPr id="8" name="Rectangle 7">
            <a:extLst>
              <a:ext uri="{FF2B5EF4-FFF2-40B4-BE49-F238E27FC236}">
                <a16:creationId xmlns:a16="http://schemas.microsoft.com/office/drawing/2014/main" id="{7D0C5877-0C61-5D89-21EC-94AD45575ED0}"/>
              </a:ext>
            </a:extLst>
          </p:cNvPr>
          <p:cNvSpPr/>
          <p:nvPr/>
        </p:nvSpPr>
        <p:spPr>
          <a:xfrm>
            <a:off x="5688506" y="737937"/>
            <a:ext cx="3345596" cy="3970421"/>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57AE732-E246-A337-CB49-A9FB4364A901}"/>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402288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2F6CF85-45C2-765E-E18D-7C3F2F5C0512}"/>
              </a:ext>
            </a:extLst>
          </p:cNvPr>
          <p:cNvSpPr/>
          <p:nvPr/>
        </p:nvSpPr>
        <p:spPr>
          <a:xfrm>
            <a:off x="270081" y="836331"/>
            <a:ext cx="8428399" cy="35565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793602" name="Rectangle 2"/>
          <p:cNvSpPr>
            <a:spLocks noGrp="1" noChangeArrowheads="1"/>
          </p:cNvSpPr>
          <p:nvPr>
            <p:ph type="title"/>
          </p:nvPr>
        </p:nvSpPr>
        <p:spPr>
          <a:xfrm>
            <a:off x="272407" y="203799"/>
            <a:ext cx="8504261" cy="391424"/>
          </a:xfrm>
        </p:spPr>
        <p:txBody>
          <a:bodyPr>
            <a:normAutofit fontScale="90000"/>
          </a:bodyPr>
          <a:lstStyle/>
          <a:p>
            <a:r>
              <a:rPr lang="en-US" sz="1950">
                <a:solidFill>
                  <a:schemeClr val="accent1"/>
                </a:solidFill>
              </a:rPr>
              <a:t>Access to GTP empowers your technical domain architects to deliver value across the organization </a:t>
            </a:r>
          </a:p>
        </p:txBody>
      </p:sp>
      <p:sp>
        <p:nvSpPr>
          <p:cNvPr id="793622" name="Text Box 22"/>
          <p:cNvSpPr txBox="1">
            <a:spLocks noChangeArrowheads="1"/>
          </p:cNvSpPr>
          <p:nvPr/>
        </p:nvSpPr>
        <p:spPr bwMode="auto">
          <a:xfrm>
            <a:off x="3109864" y="1724934"/>
            <a:ext cx="2848783" cy="2664191"/>
          </a:xfrm>
          <a:prstGeom prst="rect">
            <a:avLst/>
          </a:prstGeom>
          <a:noFill/>
          <a:ln w="12700" algn="ctr">
            <a:noFill/>
            <a:miter lim="800000"/>
            <a:headEnd type="none" w="lg" len="lg"/>
            <a:tailEnd type="none" w="lg" len="lg"/>
          </a:ln>
          <a:effectLst/>
        </p:spPr>
        <p:txBody>
          <a:bodyPr wrap="square">
            <a:spAutoFit/>
          </a:bodyPr>
          <a:lstStyle/>
          <a:p>
            <a:pPr defTabSz="342900">
              <a:lnSpc>
                <a:spcPct val="120000"/>
              </a:lnSpc>
              <a:defRPr/>
            </a:pPr>
            <a:r>
              <a:rPr lang="en-US" sz="1050" b="1">
                <a:solidFill>
                  <a:srgbClr val="009AD7"/>
                </a:solidFill>
              </a:rPr>
              <a:t>Validate technical approach </a:t>
            </a:r>
          </a:p>
          <a:p>
            <a:pPr marL="214313" indent="-214313" defTabSz="342900">
              <a:lnSpc>
                <a:spcPct val="120000"/>
              </a:lnSpc>
              <a:buFont typeface="Arial" panose="020B0604020202020204" pitchFamily="34" charset="0"/>
              <a:buChar char="•"/>
              <a:defRPr/>
            </a:pPr>
            <a:r>
              <a:rPr lang="en-US" sz="1050">
                <a:solidFill>
                  <a:srgbClr val="002856"/>
                </a:solidFill>
              </a:rPr>
              <a:t>Avoid costly architecture decisions that are expensive to change</a:t>
            </a:r>
          </a:p>
          <a:p>
            <a:pPr marL="214313" indent="-214313" defTabSz="342900">
              <a:lnSpc>
                <a:spcPct val="120000"/>
              </a:lnSpc>
              <a:spcAft>
                <a:spcPts val="450"/>
              </a:spcAft>
              <a:buFont typeface="Arial" panose="020B0604020202020204" pitchFamily="34" charset="0"/>
              <a:buChar char="•"/>
              <a:defRPr/>
            </a:pPr>
            <a:r>
              <a:rPr lang="en-US" sz="1050">
                <a:solidFill>
                  <a:srgbClr val="002856"/>
                </a:solidFill>
              </a:rPr>
              <a:t>Avoid partner scope creep, unneeded complexity, and vendor lock in</a:t>
            </a:r>
          </a:p>
          <a:p>
            <a:pPr defTabSz="342900">
              <a:lnSpc>
                <a:spcPct val="120000"/>
              </a:lnSpc>
              <a:spcAft>
                <a:spcPct val="0"/>
              </a:spcAft>
              <a:defRPr/>
            </a:pPr>
            <a:r>
              <a:rPr lang="en-US" sz="1050" b="1">
                <a:solidFill>
                  <a:srgbClr val="009AD7"/>
                </a:solidFill>
              </a:rPr>
              <a:t>Reduce spend </a:t>
            </a:r>
          </a:p>
          <a:p>
            <a:pPr marL="214313" indent="-214313" defTabSz="342900">
              <a:lnSpc>
                <a:spcPct val="120000"/>
              </a:lnSpc>
              <a:spcAft>
                <a:spcPct val="0"/>
              </a:spcAft>
              <a:buFont typeface="Arial" panose="020B0604020202020204" pitchFamily="34" charset="0"/>
              <a:buChar char="•"/>
              <a:defRPr/>
            </a:pPr>
            <a:r>
              <a:rPr lang="en-US" sz="1050">
                <a:solidFill>
                  <a:schemeClr val="tx2"/>
                </a:solidFill>
              </a:rPr>
              <a:t>Select technologies and eliminate unnecessary capabilities in vendor contracts through vendor research and peer review</a:t>
            </a:r>
          </a:p>
          <a:p>
            <a:pPr marL="214313" indent="-214313">
              <a:lnSpc>
                <a:spcPct val="120000"/>
              </a:lnSpc>
              <a:spcAft>
                <a:spcPct val="0"/>
              </a:spcAft>
              <a:buFont typeface="Arial" panose="020B0604020202020204" pitchFamily="34" charset="0"/>
              <a:buChar char="•"/>
              <a:defRPr/>
            </a:pPr>
            <a:r>
              <a:rPr lang="en-US" sz="1050">
                <a:solidFill>
                  <a:srgbClr val="002856"/>
                </a:solidFill>
              </a:rPr>
              <a:t>Minimize need for external consultants by equipping your team so they can retain project ownership</a:t>
            </a:r>
          </a:p>
          <a:p>
            <a:pPr marL="214313" indent="-214313" defTabSz="342900">
              <a:lnSpc>
                <a:spcPct val="120000"/>
              </a:lnSpc>
              <a:spcAft>
                <a:spcPct val="0"/>
              </a:spcAft>
              <a:buFont typeface="Arial" panose="020B0604020202020204" pitchFamily="34" charset="0"/>
              <a:buChar char="•"/>
              <a:defRPr/>
            </a:pPr>
            <a:endParaRPr lang="en-US" sz="1050">
              <a:solidFill>
                <a:schemeClr val="tx2"/>
              </a:solidFill>
            </a:endParaRPr>
          </a:p>
        </p:txBody>
      </p:sp>
      <p:sp>
        <p:nvSpPr>
          <p:cNvPr id="793625" name="Text Box 25"/>
          <p:cNvSpPr txBox="1">
            <a:spLocks noChangeArrowheads="1"/>
          </p:cNvSpPr>
          <p:nvPr/>
        </p:nvSpPr>
        <p:spPr bwMode="auto">
          <a:xfrm>
            <a:off x="6138465" y="1724934"/>
            <a:ext cx="2629693" cy="1888594"/>
          </a:xfrm>
          <a:prstGeom prst="rect">
            <a:avLst/>
          </a:prstGeom>
          <a:noFill/>
          <a:ln w="12700" algn="ctr">
            <a:noFill/>
            <a:miter lim="800000"/>
            <a:headEnd type="none" w="lg" len="lg"/>
            <a:tailEnd type="none" w="lg" len="lg"/>
          </a:ln>
          <a:effectLst/>
        </p:spPr>
        <p:txBody>
          <a:bodyPr wrap="square">
            <a:spAutoFit/>
          </a:bodyPr>
          <a:lstStyle/>
          <a:p>
            <a:pPr defTabSz="342900">
              <a:lnSpc>
                <a:spcPct val="120000"/>
              </a:lnSpc>
              <a:defRPr/>
            </a:pPr>
            <a:r>
              <a:rPr lang="en-US" sz="1050" b="1">
                <a:solidFill>
                  <a:srgbClr val="009AD7"/>
                </a:solidFill>
              </a:rPr>
              <a:t>Close skill gaps through in-depth “how-to” technical guidance</a:t>
            </a:r>
          </a:p>
          <a:p>
            <a:pPr marL="214313" indent="-214313" defTabSz="342900">
              <a:lnSpc>
                <a:spcPct val="120000"/>
              </a:lnSpc>
              <a:spcAft>
                <a:spcPts val="450"/>
              </a:spcAft>
              <a:buFont typeface="Arial" panose="020B0604020202020204" pitchFamily="34" charset="0"/>
              <a:buChar char="•"/>
              <a:defRPr/>
            </a:pPr>
            <a:r>
              <a:rPr lang="en-US" sz="1050">
                <a:solidFill>
                  <a:srgbClr val="002856"/>
                </a:solidFill>
              </a:rPr>
              <a:t>Expand and modernize skillsets with Gartner resources</a:t>
            </a:r>
          </a:p>
          <a:p>
            <a:pPr defTabSz="342900">
              <a:lnSpc>
                <a:spcPct val="120000"/>
              </a:lnSpc>
              <a:defRPr/>
            </a:pPr>
            <a:r>
              <a:rPr lang="en-US" sz="1050" b="1">
                <a:solidFill>
                  <a:srgbClr val="009AD7"/>
                </a:solidFill>
              </a:rPr>
              <a:t>Attract, progress and retain talent</a:t>
            </a:r>
          </a:p>
          <a:p>
            <a:pPr marL="214313" indent="-214313" defTabSz="342900">
              <a:lnSpc>
                <a:spcPct val="120000"/>
              </a:lnSpc>
              <a:buFont typeface="Arial" panose="020B0604020202020204" pitchFamily="34" charset="0"/>
              <a:buChar char="•"/>
              <a:defRPr/>
            </a:pPr>
            <a:r>
              <a:rPr lang="en-US" sz="1050">
                <a:solidFill>
                  <a:srgbClr val="002856"/>
                </a:solidFill>
              </a:rPr>
              <a:t>Stay ahead of technology trends with Gartner research</a:t>
            </a:r>
          </a:p>
          <a:p>
            <a:pPr marL="214313" indent="-214313" defTabSz="342900">
              <a:lnSpc>
                <a:spcPct val="120000"/>
              </a:lnSpc>
              <a:buFont typeface="Arial" panose="020B0604020202020204" pitchFamily="34" charset="0"/>
              <a:buChar char="•"/>
              <a:defRPr/>
            </a:pPr>
            <a:r>
              <a:rPr lang="en-US" sz="1050">
                <a:solidFill>
                  <a:srgbClr val="002856"/>
                </a:solidFill>
              </a:rPr>
              <a:t>Drive a culture of continuous improvement and learning </a:t>
            </a:r>
          </a:p>
        </p:txBody>
      </p:sp>
      <p:sp>
        <p:nvSpPr>
          <p:cNvPr id="793623" name="Text Box 23"/>
          <p:cNvSpPr txBox="1">
            <a:spLocks noChangeArrowheads="1"/>
          </p:cNvSpPr>
          <p:nvPr/>
        </p:nvSpPr>
        <p:spPr bwMode="auto">
          <a:xfrm>
            <a:off x="271723" y="1724934"/>
            <a:ext cx="2676041" cy="2431820"/>
          </a:xfrm>
          <a:prstGeom prst="rect">
            <a:avLst/>
          </a:prstGeom>
          <a:noFill/>
          <a:ln w="12700" algn="ctr">
            <a:noFill/>
            <a:miter lim="800000"/>
            <a:headEnd type="none" w="lg" len="lg"/>
            <a:tailEnd type="none" w="lg" len="lg"/>
          </a:ln>
          <a:effectLst/>
        </p:spPr>
        <p:txBody>
          <a:bodyPr wrap="square">
            <a:spAutoFit/>
          </a:bodyPr>
          <a:lstStyle/>
          <a:p>
            <a:pPr defTabSz="342900">
              <a:lnSpc>
                <a:spcPct val="120000"/>
              </a:lnSpc>
              <a:defRPr/>
            </a:pPr>
            <a:r>
              <a:rPr lang="en-US" sz="1050" b="1">
                <a:solidFill>
                  <a:srgbClr val="009AD7"/>
                </a:solidFill>
              </a:rPr>
              <a:t>Trim project hours</a:t>
            </a:r>
          </a:p>
          <a:p>
            <a:pPr marL="214313" indent="-214313" defTabSz="342900">
              <a:lnSpc>
                <a:spcPct val="120000"/>
              </a:lnSpc>
              <a:buFont typeface="Arial" panose="020B0604020202020204" pitchFamily="34" charset="0"/>
              <a:buChar char="•"/>
              <a:defRPr/>
            </a:pPr>
            <a:r>
              <a:rPr lang="en-US" sz="1050">
                <a:solidFill>
                  <a:srgbClr val="002856"/>
                </a:solidFill>
              </a:rPr>
              <a:t>Significantly reduce time researching and meeting with multiple vendors</a:t>
            </a:r>
          </a:p>
          <a:p>
            <a:pPr marL="214313" indent="-214313">
              <a:lnSpc>
                <a:spcPct val="120000"/>
              </a:lnSpc>
              <a:buFont typeface="Arial" panose="020B0604020202020204" pitchFamily="34" charset="0"/>
              <a:buChar char="•"/>
              <a:defRPr/>
            </a:pPr>
            <a:r>
              <a:rPr lang="en-US" sz="1050">
                <a:solidFill>
                  <a:srgbClr val="002856"/>
                </a:solidFill>
              </a:rPr>
              <a:t>Increase productivity with frameworks and tools for developing technical approaches</a:t>
            </a:r>
          </a:p>
          <a:p>
            <a:pPr marL="214313" indent="-214313">
              <a:lnSpc>
                <a:spcPct val="120000"/>
              </a:lnSpc>
              <a:spcBef>
                <a:spcPts val="75"/>
              </a:spcBef>
              <a:buFont typeface="Arial" panose="020B0604020202020204" pitchFamily="34" charset="0"/>
              <a:buChar char="•"/>
              <a:defRPr/>
            </a:pPr>
            <a:r>
              <a:rPr lang="en-US" sz="1050">
                <a:solidFill>
                  <a:srgbClr val="002856"/>
                </a:solidFill>
              </a:rPr>
              <a:t>Quickly address and solve project challenges with GTP analysts</a:t>
            </a:r>
          </a:p>
          <a:p>
            <a:pPr defTabSz="342900">
              <a:lnSpc>
                <a:spcPct val="120000"/>
              </a:lnSpc>
              <a:spcBef>
                <a:spcPts val="75"/>
              </a:spcBef>
              <a:defRPr/>
            </a:pPr>
            <a:r>
              <a:rPr lang="en-US" sz="1050" b="1">
                <a:solidFill>
                  <a:srgbClr val="009AD7"/>
                </a:solidFill>
              </a:rPr>
              <a:t>Mitigate risk and pitfalls</a:t>
            </a:r>
          </a:p>
          <a:p>
            <a:pPr marL="214313" indent="-214313">
              <a:lnSpc>
                <a:spcPct val="120000"/>
              </a:lnSpc>
              <a:buFont typeface="Arial" panose="020B0604020202020204" pitchFamily="34" charset="0"/>
              <a:buChar char="•"/>
              <a:defRPr/>
            </a:pPr>
            <a:r>
              <a:rPr lang="en-US" sz="1050">
                <a:solidFill>
                  <a:schemeClr val="tx2"/>
                </a:solidFill>
              </a:rPr>
              <a:t>Accelerate implementation by starting with a comprehensive project plan backed by Gartner best practices</a:t>
            </a:r>
          </a:p>
        </p:txBody>
      </p:sp>
      <p:sp>
        <p:nvSpPr>
          <p:cNvPr id="25" name="TextBox 24"/>
          <p:cNvSpPr txBox="1"/>
          <p:nvPr/>
        </p:nvSpPr>
        <p:spPr>
          <a:xfrm>
            <a:off x="6119424" y="1263487"/>
            <a:ext cx="2003244" cy="530890"/>
          </a:xfrm>
          <a:prstGeom prst="rect">
            <a:avLst/>
          </a:prstGeom>
          <a:noFill/>
        </p:spPr>
        <p:txBody>
          <a:bodyPr wrap="square" lIns="68555" tIns="34278" rIns="68555" bIns="34278" rtlCol="0">
            <a:spAutoFit/>
          </a:bodyPr>
          <a:lstStyle/>
          <a:p>
            <a:pPr defTabSz="685572">
              <a:defRPr/>
            </a:pPr>
            <a:r>
              <a:rPr lang="en-US" sz="1500" b="1">
                <a:solidFill>
                  <a:srgbClr val="002856"/>
                </a:solidFill>
                <a:latin typeface="Arial"/>
              </a:rPr>
              <a:t>Build and retain critical skills</a:t>
            </a:r>
          </a:p>
        </p:txBody>
      </p:sp>
      <p:sp>
        <p:nvSpPr>
          <p:cNvPr id="26" name="TextBox 25"/>
          <p:cNvSpPr txBox="1"/>
          <p:nvPr/>
        </p:nvSpPr>
        <p:spPr>
          <a:xfrm>
            <a:off x="3123083" y="1090237"/>
            <a:ext cx="1913604" cy="530890"/>
          </a:xfrm>
          <a:prstGeom prst="rect">
            <a:avLst/>
          </a:prstGeom>
          <a:noFill/>
        </p:spPr>
        <p:txBody>
          <a:bodyPr wrap="square" lIns="68555" tIns="34278" rIns="68555" bIns="34278" rtlCol="0">
            <a:spAutoFit/>
          </a:bodyPr>
          <a:lstStyle/>
          <a:p>
            <a:pPr defTabSz="685572">
              <a:defRPr/>
            </a:pPr>
            <a:r>
              <a:rPr lang="en-US" sz="1500" b="1">
                <a:solidFill>
                  <a:srgbClr val="002856"/>
                </a:solidFill>
                <a:latin typeface="Arial"/>
              </a:rPr>
              <a:t>Reduce Spend on IT Investments</a:t>
            </a:r>
          </a:p>
        </p:txBody>
      </p:sp>
      <p:sp>
        <p:nvSpPr>
          <p:cNvPr id="27" name="TextBox 26"/>
          <p:cNvSpPr txBox="1"/>
          <p:nvPr/>
        </p:nvSpPr>
        <p:spPr>
          <a:xfrm>
            <a:off x="272407" y="1090237"/>
            <a:ext cx="2288892" cy="530890"/>
          </a:xfrm>
          <a:prstGeom prst="rect">
            <a:avLst/>
          </a:prstGeom>
          <a:noFill/>
        </p:spPr>
        <p:txBody>
          <a:bodyPr wrap="square" lIns="68555" tIns="34278" rIns="68555" bIns="34278" rtlCol="0">
            <a:spAutoFit/>
          </a:bodyPr>
          <a:lstStyle/>
          <a:p>
            <a:pPr defTabSz="685572">
              <a:defRPr/>
            </a:pPr>
            <a:r>
              <a:rPr lang="en-US" sz="1500" b="1">
                <a:solidFill>
                  <a:srgbClr val="002856"/>
                </a:solidFill>
                <a:latin typeface="Arial"/>
              </a:rPr>
              <a:t>Accelerate Projects and Improve Outcomes</a:t>
            </a:r>
          </a:p>
        </p:txBody>
      </p:sp>
      <p:cxnSp>
        <p:nvCxnSpPr>
          <p:cNvPr id="4" name="Straight Connector 3">
            <a:extLst>
              <a:ext uri="{FF2B5EF4-FFF2-40B4-BE49-F238E27FC236}">
                <a16:creationId xmlns:a16="http://schemas.microsoft.com/office/drawing/2014/main" id="{048F7A74-F960-0E94-CB23-FA94EDCE053E}"/>
              </a:ext>
            </a:extLst>
          </p:cNvPr>
          <p:cNvCxnSpPr>
            <a:cxnSpLocks/>
          </p:cNvCxnSpPr>
          <p:nvPr/>
        </p:nvCxnSpPr>
        <p:spPr>
          <a:xfrm>
            <a:off x="2974458" y="789467"/>
            <a:ext cx="31075" cy="3708105"/>
          </a:xfrm>
          <a:prstGeom prst="line">
            <a:avLst/>
          </a:prstGeom>
          <a:noFill/>
          <a:ln w="28575" cap="flat" cmpd="sng">
            <a:solidFill>
              <a:schemeClr val="bg1"/>
            </a:solidFill>
            <a:prstDash val="solid"/>
            <a:round/>
            <a:headEnd type="none" w="lg" len="med"/>
            <a:tailEnd type="none" w="lg" len="med"/>
          </a:ln>
        </p:spPr>
      </p:cxnSp>
      <p:cxnSp>
        <p:nvCxnSpPr>
          <p:cNvPr id="5" name="Straight Connector 4">
            <a:extLst>
              <a:ext uri="{FF2B5EF4-FFF2-40B4-BE49-F238E27FC236}">
                <a16:creationId xmlns:a16="http://schemas.microsoft.com/office/drawing/2014/main" id="{4EFD6837-94FD-59D9-E23F-3F8AA70A01D2}"/>
              </a:ext>
            </a:extLst>
          </p:cNvPr>
          <p:cNvCxnSpPr>
            <a:cxnSpLocks/>
          </p:cNvCxnSpPr>
          <p:nvPr/>
        </p:nvCxnSpPr>
        <p:spPr>
          <a:xfrm>
            <a:off x="5958650" y="836332"/>
            <a:ext cx="0" cy="3661241"/>
          </a:xfrm>
          <a:prstGeom prst="line">
            <a:avLst/>
          </a:prstGeom>
          <a:noFill/>
          <a:ln w="28575" cap="flat" cmpd="sng">
            <a:solidFill>
              <a:schemeClr val="bg1"/>
            </a:solidFill>
            <a:prstDash val="solid"/>
            <a:round/>
            <a:headEnd type="none" w="lg" len="med"/>
            <a:tailEnd type="none" w="lg" len="med"/>
          </a:ln>
        </p:spPr>
      </p:cxnSp>
      <p:sp>
        <p:nvSpPr>
          <p:cNvPr id="6" name="Freeform: Shape 173">
            <a:extLst>
              <a:ext uri="{FF2B5EF4-FFF2-40B4-BE49-F238E27FC236}">
                <a16:creationId xmlns:a16="http://schemas.microsoft.com/office/drawing/2014/main" id="{E3828D6C-6FF3-11BB-16D8-ADFD48015934}"/>
              </a:ext>
            </a:extLst>
          </p:cNvPr>
          <p:cNvSpPr/>
          <p:nvPr/>
        </p:nvSpPr>
        <p:spPr>
          <a:xfrm>
            <a:off x="2508339" y="1044968"/>
            <a:ext cx="378619" cy="357188"/>
          </a:xfrm>
          <a:custGeom>
            <a:avLst/>
            <a:gdLst>
              <a:gd name="connsiteX0" fmla="*/ 504444 w 504825"/>
              <a:gd name="connsiteY0" fmla="*/ 25457 h 476250"/>
              <a:gd name="connsiteX1" fmla="*/ 503872 w 504825"/>
              <a:gd name="connsiteY1" fmla="*/ 7740 h 476250"/>
              <a:gd name="connsiteX2" fmla="*/ 486061 w 504825"/>
              <a:gd name="connsiteY2" fmla="*/ 7169 h 476250"/>
              <a:gd name="connsiteX3" fmla="*/ 252317 w 504825"/>
              <a:gd name="connsiteY3" fmla="*/ 111086 h 476250"/>
              <a:gd name="connsiteX4" fmla="*/ 235458 w 504825"/>
              <a:gd name="connsiteY4" fmla="*/ 128803 h 476250"/>
              <a:gd name="connsiteX5" fmla="*/ 133540 w 504825"/>
              <a:gd name="connsiteY5" fmla="*/ 135566 h 476250"/>
              <a:gd name="connsiteX6" fmla="*/ 61150 w 504825"/>
              <a:gd name="connsiteY6" fmla="*/ 207956 h 476250"/>
              <a:gd name="connsiteX7" fmla="*/ 125539 w 504825"/>
              <a:gd name="connsiteY7" fmla="*/ 272345 h 476250"/>
              <a:gd name="connsiteX8" fmla="*/ 112490 w 504825"/>
              <a:gd name="connsiteY8" fmla="*/ 291871 h 476250"/>
              <a:gd name="connsiteX9" fmla="*/ 104108 w 504825"/>
              <a:gd name="connsiteY9" fmla="*/ 304825 h 476250"/>
              <a:gd name="connsiteX10" fmla="*/ 206692 w 504825"/>
              <a:gd name="connsiteY10" fmla="*/ 407409 h 476250"/>
              <a:gd name="connsiteX11" fmla="*/ 219646 w 504825"/>
              <a:gd name="connsiteY11" fmla="*/ 399027 h 476250"/>
              <a:gd name="connsiteX12" fmla="*/ 239173 w 504825"/>
              <a:gd name="connsiteY12" fmla="*/ 385978 h 476250"/>
              <a:gd name="connsiteX13" fmla="*/ 303562 w 504825"/>
              <a:gd name="connsiteY13" fmla="*/ 450367 h 476250"/>
              <a:gd name="connsiteX14" fmla="*/ 375952 w 504825"/>
              <a:gd name="connsiteY14" fmla="*/ 377977 h 476250"/>
              <a:gd name="connsiteX15" fmla="*/ 382714 w 504825"/>
              <a:gd name="connsiteY15" fmla="*/ 276059 h 476250"/>
              <a:gd name="connsiteX16" fmla="*/ 400431 w 504825"/>
              <a:gd name="connsiteY16" fmla="*/ 259200 h 476250"/>
              <a:gd name="connsiteX17" fmla="*/ 504444 w 504825"/>
              <a:gd name="connsiteY17" fmla="*/ 25457 h 476250"/>
              <a:gd name="connsiteX18" fmla="*/ 373571 w 504825"/>
              <a:gd name="connsiteY18" fmla="*/ 232244 h 476250"/>
              <a:gd name="connsiteX19" fmla="*/ 364046 w 504825"/>
              <a:gd name="connsiteY19" fmla="*/ 241484 h 476250"/>
              <a:gd name="connsiteX20" fmla="*/ 335471 w 504825"/>
              <a:gd name="connsiteY20" fmla="*/ 266820 h 476250"/>
              <a:gd name="connsiteX21" fmla="*/ 243649 w 504825"/>
              <a:gd name="connsiteY21" fmla="*/ 336638 h 476250"/>
              <a:gd name="connsiteX22" fmla="*/ 211741 w 504825"/>
              <a:gd name="connsiteY22" fmla="*/ 358546 h 476250"/>
              <a:gd name="connsiteX23" fmla="*/ 152971 w 504825"/>
              <a:gd name="connsiteY23" fmla="*/ 299777 h 476250"/>
              <a:gd name="connsiteX24" fmla="*/ 174879 w 504825"/>
              <a:gd name="connsiteY24" fmla="*/ 267868 h 476250"/>
              <a:gd name="connsiteX25" fmla="*/ 244697 w 504825"/>
              <a:gd name="connsiteY25" fmla="*/ 176047 h 476250"/>
              <a:gd name="connsiteX26" fmla="*/ 270034 w 504825"/>
              <a:gd name="connsiteY26" fmla="*/ 147472 h 476250"/>
              <a:gd name="connsiteX27" fmla="*/ 279273 w 504825"/>
              <a:gd name="connsiteY27" fmla="*/ 137947 h 476250"/>
              <a:gd name="connsiteX28" fmla="*/ 465296 w 504825"/>
              <a:gd name="connsiteY28" fmla="*/ 46316 h 476250"/>
              <a:gd name="connsiteX29" fmla="*/ 373571 w 504825"/>
              <a:gd name="connsiteY29" fmla="*/ 232244 h 476250"/>
              <a:gd name="connsiteX30" fmla="*/ 114967 w 504825"/>
              <a:gd name="connsiteY30" fmla="*/ 207956 h 476250"/>
              <a:gd name="connsiteX31" fmla="*/ 150304 w 504825"/>
              <a:gd name="connsiteY31" fmla="*/ 172618 h 476250"/>
              <a:gd name="connsiteX32" fmla="*/ 200977 w 504825"/>
              <a:gd name="connsiteY32" fmla="*/ 169284 h 476250"/>
              <a:gd name="connsiteX33" fmla="*/ 147447 w 504825"/>
              <a:gd name="connsiteY33" fmla="*/ 240531 h 476250"/>
              <a:gd name="connsiteX34" fmla="*/ 114967 w 504825"/>
              <a:gd name="connsiteY34" fmla="*/ 207956 h 476250"/>
              <a:gd name="connsiteX35" fmla="*/ 338899 w 504825"/>
              <a:gd name="connsiteY35" fmla="*/ 361213 h 476250"/>
              <a:gd name="connsiteX36" fmla="*/ 303562 w 504825"/>
              <a:gd name="connsiteY36" fmla="*/ 396551 h 476250"/>
              <a:gd name="connsiteX37" fmla="*/ 270986 w 504825"/>
              <a:gd name="connsiteY37" fmla="*/ 363975 h 476250"/>
              <a:gd name="connsiteX38" fmla="*/ 342233 w 504825"/>
              <a:gd name="connsiteY38" fmla="*/ 310445 h 476250"/>
              <a:gd name="connsiteX39" fmla="*/ 338899 w 504825"/>
              <a:gd name="connsiteY39" fmla="*/ 361213 h 476250"/>
              <a:gd name="connsiteX40" fmla="*/ 401098 w 504825"/>
              <a:gd name="connsiteY40" fmla="*/ 138518 h 476250"/>
              <a:gd name="connsiteX41" fmla="*/ 372999 w 504825"/>
              <a:gd name="connsiteY41" fmla="*/ 166617 h 476250"/>
              <a:gd name="connsiteX42" fmla="*/ 344900 w 504825"/>
              <a:gd name="connsiteY42" fmla="*/ 138518 h 476250"/>
              <a:gd name="connsiteX43" fmla="*/ 372999 w 504825"/>
              <a:gd name="connsiteY43" fmla="*/ 110420 h 476250"/>
              <a:gd name="connsiteX44" fmla="*/ 401098 w 504825"/>
              <a:gd name="connsiteY44" fmla="*/ 138518 h 476250"/>
              <a:gd name="connsiteX45" fmla="*/ 114871 w 504825"/>
              <a:gd name="connsiteY45" fmla="*/ 369690 h 476250"/>
              <a:gd name="connsiteX46" fmla="*/ 34099 w 504825"/>
              <a:gd name="connsiteY46" fmla="*/ 450557 h 476250"/>
              <a:gd name="connsiteX47" fmla="*/ 7144 w 504825"/>
              <a:gd name="connsiteY47" fmla="*/ 423602 h 476250"/>
              <a:gd name="connsiteX48" fmla="*/ 87916 w 504825"/>
              <a:gd name="connsiteY48" fmla="*/ 342734 h 476250"/>
              <a:gd name="connsiteX49" fmla="*/ 101346 w 504825"/>
              <a:gd name="connsiteY49" fmla="*/ 356165 h 476250"/>
              <a:gd name="connsiteX50" fmla="*/ 114871 w 504825"/>
              <a:gd name="connsiteY50" fmla="*/ 369690 h 476250"/>
              <a:gd name="connsiteX51" fmla="*/ 141827 w 504825"/>
              <a:gd name="connsiteY51" fmla="*/ 396551 h 476250"/>
              <a:gd name="connsiteX52" fmla="*/ 168783 w 504825"/>
              <a:gd name="connsiteY52" fmla="*/ 423506 h 476250"/>
              <a:gd name="connsiteX53" fmla="*/ 114871 w 504825"/>
              <a:gd name="connsiteY53" fmla="*/ 477418 h 476250"/>
              <a:gd name="connsiteX54" fmla="*/ 87916 w 504825"/>
              <a:gd name="connsiteY54" fmla="*/ 450462 h 476250"/>
              <a:gd name="connsiteX55" fmla="*/ 141827 w 504825"/>
              <a:gd name="connsiteY55" fmla="*/ 39655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04825" h="476250">
                <a:moveTo>
                  <a:pt x="504444" y="25457"/>
                </a:moveTo>
                <a:lnTo>
                  <a:pt x="503872" y="7740"/>
                </a:lnTo>
                <a:lnTo>
                  <a:pt x="486061" y="7169"/>
                </a:lnTo>
                <a:cubicBezTo>
                  <a:pt x="481013" y="7073"/>
                  <a:pt x="359378" y="4025"/>
                  <a:pt x="252317" y="111086"/>
                </a:cubicBezTo>
                <a:cubicBezTo>
                  <a:pt x="246697" y="116706"/>
                  <a:pt x="241078" y="122612"/>
                  <a:pt x="235458" y="128803"/>
                </a:cubicBezTo>
                <a:lnTo>
                  <a:pt x="133540" y="135566"/>
                </a:lnTo>
                <a:lnTo>
                  <a:pt x="61150" y="207956"/>
                </a:lnTo>
                <a:lnTo>
                  <a:pt x="125539" y="272345"/>
                </a:lnTo>
                <a:cubicBezTo>
                  <a:pt x="118015" y="283489"/>
                  <a:pt x="113252" y="290823"/>
                  <a:pt x="112490" y="291871"/>
                </a:cubicBezTo>
                <a:lnTo>
                  <a:pt x="104108" y="304825"/>
                </a:lnTo>
                <a:lnTo>
                  <a:pt x="206692" y="407409"/>
                </a:lnTo>
                <a:lnTo>
                  <a:pt x="219646" y="399027"/>
                </a:lnTo>
                <a:cubicBezTo>
                  <a:pt x="220789" y="398265"/>
                  <a:pt x="228029" y="393598"/>
                  <a:pt x="239173" y="385978"/>
                </a:cubicBezTo>
                <a:lnTo>
                  <a:pt x="303562" y="450367"/>
                </a:lnTo>
                <a:lnTo>
                  <a:pt x="375952" y="377977"/>
                </a:lnTo>
                <a:lnTo>
                  <a:pt x="382714" y="276059"/>
                </a:lnTo>
                <a:cubicBezTo>
                  <a:pt x="388906" y="270440"/>
                  <a:pt x="394906" y="264725"/>
                  <a:pt x="400431" y="259200"/>
                </a:cubicBezTo>
                <a:cubicBezTo>
                  <a:pt x="507492" y="152139"/>
                  <a:pt x="504539" y="30600"/>
                  <a:pt x="504444" y="25457"/>
                </a:cubicBezTo>
                <a:close/>
                <a:moveTo>
                  <a:pt x="373571" y="232244"/>
                </a:moveTo>
                <a:cubicBezTo>
                  <a:pt x="370522" y="235292"/>
                  <a:pt x="367284" y="238436"/>
                  <a:pt x="364046" y="241484"/>
                </a:cubicBezTo>
                <a:cubicBezTo>
                  <a:pt x="355187" y="249866"/>
                  <a:pt x="345472" y="258343"/>
                  <a:pt x="335471" y="266820"/>
                </a:cubicBezTo>
                <a:cubicBezTo>
                  <a:pt x="304705" y="292728"/>
                  <a:pt x="270224" y="317969"/>
                  <a:pt x="243649" y="336638"/>
                </a:cubicBezTo>
                <a:cubicBezTo>
                  <a:pt x="230696" y="345782"/>
                  <a:pt x="219646" y="353307"/>
                  <a:pt x="211741" y="358546"/>
                </a:cubicBezTo>
                <a:lnTo>
                  <a:pt x="152971" y="299777"/>
                </a:lnTo>
                <a:cubicBezTo>
                  <a:pt x="158305" y="291871"/>
                  <a:pt x="165830" y="280822"/>
                  <a:pt x="174879" y="267868"/>
                </a:cubicBezTo>
                <a:cubicBezTo>
                  <a:pt x="193548" y="241293"/>
                  <a:pt x="218789" y="206908"/>
                  <a:pt x="244697" y="176047"/>
                </a:cubicBezTo>
                <a:cubicBezTo>
                  <a:pt x="253174" y="166046"/>
                  <a:pt x="261652" y="156330"/>
                  <a:pt x="270034" y="147472"/>
                </a:cubicBezTo>
                <a:cubicBezTo>
                  <a:pt x="273177" y="144138"/>
                  <a:pt x="276225" y="140995"/>
                  <a:pt x="279273" y="137947"/>
                </a:cubicBezTo>
                <a:cubicBezTo>
                  <a:pt x="350234" y="66986"/>
                  <a:pt x="429387" y="50222"/>
                  <a:pt x="465296" y="46316"/>
                </a:cubicBezTo>
                <a:cubicBezTo>
                  <a:pt x="461391" y="82130"/>
                  <a:pt x="444817" y="160902"/>
                  <a:pt x="373571" y="232244"/>
                </a:cubicBezTo>
                <a:close/>
                <a:moveTo>
                  <a:pt x="114967" y="207956"/>
                </a:moveTo>
                <a:lnTo>
                  <a:pt x="150304" y="172618"/>
                </a:lnTo>
                <a:lnTo>
                  <a:pt x="200977" y="169284"/>
                </a:lnTo>
                <a:cubicBezTo>
                  <a:pt x="181165" y="193954"/>
                  <a:pt x="162496" y="219290"/>
                  <a:pt x="147447" y="240531"/>
                </a:cubicBezTo>
                <a:lnTo>
                  <a:pt x="114967" y="207956"/>
                </a:lnTo>
                <a:close/>
                <a:moveTo>
                  <a:pt x="338899" y="361213"/>
                </a:moveTo>
                <a:lnTo>
                  <a:pt x="303562" y="396551"/>
                </a:lnTo>
                <a:lnTo>
                  <a:pt x="270986" y="363975"/>
                </a:lnTo>
                <a:cubicBezTo>
                  <a:pt x="292227" y="348926"/>
                  <a:pt x="317563" y="330352"/>
                  <a:pt x="342233" y="310445"/>
                </a:cubicBezTo>
                <a:lnTo>
                  <a:pt x="338899" y="361213"/>
                </a:lnTo>
                <a:close/>
                <a:moveTo>
                  <a:pt x="401098" y="138518"/>
                </a:moveTo>
                <a:cubicBezTo>
                  <a:pt x="401098" y="154044"/>
                  <a:pt x="388525" y="166617"/>
                  <a:pt x="372999" y="166617"/>
                </a:cubicBezTo>
                <a:cubicBezTo>
                  <a:pt x="357473" y="166617"/>
                  <a:pt x="344900" y="154044"/>
                  <a:pt x="344900" y="138518"/>
                </a:cubicBezTo>
                <a:cubicBezTo>
                  <a:pt x="344900" y="122993"/>
                  <a:pt x="357473" y="110420"/>
                  <a:pt x="372999" y="110420"/>
                </a:cubicBezTo>
                <a:cubicBezTo>
                  <a:pt x="388525" y="110420"/>
                  <a:pt x="401098" y="122993"/>
                  <a:pt x="401098" y="138518"/>
                </a:cubicBezTo>
                <a:close/>
                <a:moveTo>
                  <a:pt x="114871" y="369690"/>
                </a:moveTo>
                <a:lnTo>
                  <a:pt x="34099" y="450557"/>
                </a:lnTo>
                <a:lnTo>
                  <a:pt x="7144" y="423602"/>
                </a:lnTo>
                <a:lnTo>
                  <a:pt x="87916" y="342734"/>
                </a:lnTo>
                <a:lnTo>
                  <a:pt x="101346" y="356165"/>
                </a:lnTo>
                <a:lnTo>
                  <a:pt x="114871" y="369690"/>
                </a:lnTo>
                <a:close/>
                <a:moveTo>
                  <a:pt x="141827" y="396551"/>
                </a:moveTo>
                <a:lnTo>
                  <a:pt x="168783" y="423506"/>
                </a:lnTo>
                <a:lnTo>
                  <a:pt x="114871" y="477418"/>
                </a:lnTo>
                <a:lnTo>
                  <a:pt x="87916" y="450462"/>
                </a:lnTo>
                <a:lnTo>
                  <a:pt x="141827" y="396551"/>
                </a:lnTo>
                <a:close/>
              </a:path>
            </a:pathLst>
          </a:custGeom>
          <a:solidFill>
            <a:srgbClr val="002856"/>
          </a:solidFill>
          <a:ln w="9525" cap="flat">
            <a:noFill/>
            <a:prstDash val="solid"/>
            <a:miter/>
          </a:ln>
        </p:spPr>
        <p:txBody>
          <a:bodyPr rtlCol="0" anchor="ctr"/>
          <a:lstStyle/>
          <a:p>
            <a:endParaRPr lang="en-US" sz="1350"/>
          </a:p>
        </p:txBody>
      </p:sp>
      <p:sp>
        <p:nvSpPr>
          <p:cNvPr id="7" name="Freeform: Shape 240">
            <a:extLst>
              <a:ext uri="{FF2B5EF4-FFF2-40B4-BE49-F238E27FC236}">
                <a16:creationId xmlns:a16="http://schemas.microsoft.com/office/drawing/2014/main" id="{731DBB01-7F87-1F19-99B4-BA037812C099}"/>
              </a:ext>
            </a:extLst>
          </p:cNvPr>
          <p:cNvSpPr/>
          <p:nvPr/>
        </p:nvSpPr>
        <p:spPr>
          <a:xfrm>
            <a:off x="5466196" y="1004365"/>
            <a:ext cx="388124" cy="357188"/>
          </a:xfrm>
          <a:custGeom>
            <a:avLst/>
            <a:gdLst>
              <a:gd name="connsiteX0" fmla="*/ 534162 w 533400"/>
              <a:gd name="connsiteY0" fmla="*/ 226219 h 542925"/>
              <a:gd name="connsiteX1" fmla="*/ 467106 w 533400"/>
              <a:gd name="connsiteY1" fmla="*/ 159544 h 542925"/>
              <a:gd name="connsiteX2" fmla="*/ 467106 w 533400"/>
              <a:gd name="connsiteY2" fmla="*/ 178594 h 542925"/>
              <a:gd name="connsiteX3" fmla="*/ 467106 w 533400"/>
              <a:gd name="connsiteY3" fmla="*/ 197644 h 542925"/>
              <a:gd name="connsiteX4" fmla="*/ 495872 w 533400"/>
              <a:gd name="connsiteY4" fmla="*/ 226219 h 542925"/>
              <a:gd name="connsiteX5" fmla="*/ 476822 w 533400"/>
              <a:gd name="connsiteY5" fmla="*/ 252984 h 542925"/>
              <a:gd name="connsiteX6" fmla="*/ 467106 w 533400"/>
              <a:gd name="connsiteY6" fmla="*/ 236411 h 542925"/>
              <a:gd name="connsiteX7" fmla="*/ 323374 w 533400"/>
              <a:gd name="connsiteY7" fmla="*/ 159544 h 542925"/>
              <a:gd name="connsiteX8" fmla="*/ 208788 w 533400"/>
              <a:gd name="connsiteY8" fmla="*/ 159544 h 542925"/>
              <a:gd name="connsiteX9" fmla="*/ 141351 w 533400"/>
              <a:gd name="connsiteY9" fmla="*/ 130969 h 542925"/>
              <a:gd name="connsiteX10" fmla="*/ 103061 w 533400"/>
              <a:gd name="connsiteY10" fmla="*/ 130969 h 542925"/>
              <a:gd name="connsiteX11" fmla="*/ 103061 w 533400"/>
              <a:gd name="connsiteY11" fmla="*/ 169069 h 542925"/>
              <a:gd name="connsiteX12" fmla="*/ 103061 w 533400"/>
              <a:gd name="connsiteY12" fmla="*/ 195453 h 542925"/>
              <a:gd name="connsiteX13" fmla="*/ 54007 w 533400"/>
              <a:gd name="connsiteY13" fmla="*/ 254794 h 542925"/>
              <a:gd name="connsiteX14" fmla="*/ 45434 w 533400"/>
              <a:gd name="connsiteY14" fmla="*/ 254794 h 542925"/>
              <a:gd name="connsiteX15" fmla="*/ 7144 w 533400"/>
              <a:gd name="connsiteY15" fmla="*/ 254794 h 542925"/>
              <a:gd name="connsiteX16" fmla="*/ 7144 w 533400"/>
              <a:gd name="connsiteY16" fmla="*/ 292894 h 542925"/>
              <a:gd name="connsiteX17" fmla="*/ 7144 w 533400"/>
              <a:gd name="connsiteY17" fmla="*/ 369094 h 542925"/>
              <a:gd name="connsiteX18" fmla="*/ 7144 w 533400"/>
              <a:gd name="connsiteY18" fmla="*/ 407194 h 542925"/>
              <a:gd name="connsiteX19" fmla="*/ 45434 w 533400"/>
              <a:gd name="connsiteY19" fmla="*/ 407194 h 542925"/>
              <a:gd name="connsiteX20" fmla="*/ 53912 w 533400"/>
              <a:gd name="connsiteY20" fmla="*/ 407194 h 542925"/>
              <a:gd name="connsiteX21" fmla="*/ 122111 w 533400"/>
              <a:gd name="connsiteY21" fmla="*/ 479298 h 542925"/>
              <a:gd name="connsiteX22" fmla="*/ 122111 w 533400"/>
              <a:gd name="connsiteY22" fmla="*/ 502444 h 542925"/>
              <a:gd name="connsiteX23" fmla="*/ 122111 w 533400"/>
              <a:gd name="connsiteY23" fmla="*/ 540544 h 542925"/>
              <a:gd name="connsiteX24" fmla="*/ 160401 w 533400"/>
              <a:gd name="connsiteY24" fmla="*/ 540544 h 542925"/>
              <a:gd name="connsiteX25" fmla="*/ 208312 w 533400"/>
              <a:gd name="connsiteY25" fmla="*/ 540544 h 542925"/>
              <a:gd name="connsiteX26" fmla="*/ 246602 w 533400"/>
              <a:gd name="connsiteY26" fmla="*/ 540544 h 542925"/>
              <a:gd name="connsiteX27" fmla="*/ 246602 w 533400"/>
              <a:gd name="connsiteY27" fmla="*/ 502444 h 542925"/>
              <a:gd name="connsiteX28" fmla="*/ 284893 w 533400"/>
              <a:gd name="connsiteY28" fmla="*/ 502444 h 542925"/>
              <a:gd name="connsiteX29" fmla="*/ 284893 w 533400"/>
              <a:gd name="connsiteY29" fmla="*/ 540544 h 542925"/>
              <a:gd name="connsiteX30" fmla="*/ 323183 w 533400"/>
              <a:gd name="connsiteY30" fmla="*/ 540544 h 542925"/>
              <a:gd name="connsiteX31" fmla="*/ 371094 w 533400"/>
              <a:gd name="connsiteY31" fmla="*/ 540544 h 542925"/>
              <a:gd name="connsiteX32" fmla="*/ 409385 w 533400"/>
              <a:gd name="connsiteY32" fmla="*/ 540544 h 542925"/>
              <a:gd name="connsiteX33" fmla="*/ 409385 w 533400"/>
              <a:gd name="connsiteY33" fmla="*/ 502444 h 542925"/>
              <a:gd name="connsiteX34" fmla="*/ 409385 w 533400"/>
              <a:gd name="connsiteY34" fmla="*/ 479298 h 542925"/>
              <a:gd name="connsiteX35" fmla="*/ 495586 w 533400"/>
              <a:gd name="connsiteY35" fmla="*/ 330994 h 542925"/>
              <a:gd name="connsiteX36" fmla="*/ 490061 w 533400"/>
              <a:gd name="connsiteY36" fmla="*/ 288703 h 542925"/>
              <a:gd name="connsiteX37" fmla="*/ 534162 w 533400"/>
              <a:gd name="connsiteY37" fmla="*/ 226219 h 542925"/>
              <a:gd name="connsiteX38" fmla="*/ 371285 w 533400"/>
              <a:gd name="connsiteY38" fmla="*/ 455390 h 542925"/>
              <a:gd name="connsiteX39" fmla="*/ 371285 w 533400"/>
              <a:gd name="connsiteY39" fmla="*/ 502444 h 542925"/>
              <a:gd name="connsiteX40" fmla="*/ 323374 w 533400"/>
              <a:gd name="connsiteY40" fmla="*/ 502444 h 542925"/>
              <a:gd name="connsiteX41" fmla="*/ 323374 w 533400"/>
              <a:gd name="connsiteY41" fmla="*/ 464344 h 542925"/>
              <a:gd name="connsiteX42" fmla="*/ 208407 w 533400"/>
              <a:gd name="connsiteY42" fmla="*/ 464344 h 542925"/>
              <a:gd name="connsiteX43" fmla="*/ 208407 w 533400"/>
              <a:gd name="connsiteY43" fmla="*/ 502444 h 542925"/>
              <a:gd name="connsiteX44" fmla="*/ 160496 w 533400"/>
              <a:gd name="connsiteY44" fmla="*/ 502444 h 542925"/>
              <a:gd name="connsiteX45" fmla="*/ 160496 w 533400"/>
              <a:gd name="connsiteY45" fmla="*/ 455390 h 542925"/>
              <a:gd name="connsiteX46" fmla="*/ 79915 w 533400"/>
              <a:gd name="connsiteY46" fmla="*/ 369094 h 542925"/>
              <a:gd name="connsiteX47" fmla="*/ 45434 w 533400"/>
              <a:gd name="connsiteY47" fmla="*/ 369094 h 542925"/>
              <a:gd name="connsiteX48" fmla="*/ 45434 w 533400"/>
              <a:gd name="connsiteY48" fmla="*/ 292894 h 542925"/>
              <a:gd name="connsiteX49" fmla="*/ 79820 w 533400"/>
              <a:gd name="connsiteY49" fmla="*/ 292894 h 542925"/>
              <a:gd name="connsiteX50" fmla="*/ 141256 w 533400"/>
              <a:gd name="connsiteY50" fmla="*/ 215646 h 542925"/>
              <a:gd name="connsiteX51" fmla="*/ 141256 w 533400"/>
              <a:gd name="connsiteY51" fmla="*/ 169069 h 542925"/>
              <a:gd name="connsiteX52" fmla="*/ 189167 w 533400"/>
              <a:gd name="connsiteY52" fmla="*/ 197644 h 542925"/>
              <a:gd name="connsiteX53" fmla="*/ 208312 w 533400"/>
              <a:gd name="connsiteY53" fmla="*/ 197644 h 542925"/>
              <a:gd name="connsiteX54" fmla="*/ 323374 w 533400"/>
              <a:gd name="connsiteY54" fmla="*/ 197644 h 542925"/>
              <a:gd name="connsiteX55" fmla="*/ 457486 w 533400"/>
              <a:gd name="connsiteY55" fmla="*/ 330994 h 542925"/>
              <a:gd name="connsiteX56" fmla="*/ 371285 w 533400"/>
              <a:gd name="connsiteY56" fmla="*/ 455390 h 542925"/>
              <a:gd name="connsiteX57" fmla="*/ 217170 w 533400"/>
              <a:gd name="connsiteY57" fmla="*/ 216694 h 542925"/>
              <a:gd name="connsiteX58" fmla="*/ 332137 w 533400"/>
              <a:gd name="connsiteY58" fmla="*/ 216694 h 542925"/>
              <a:gd name="connsiteX59" fmla="*/ 332137 w 533400"/>
              <a:gd name="connsiteY59" fmla="*/ 254794 h 542925"/>
              <a:gd name="connsiteX60" fmla="*/ 217170 w 533400"/>
              <a:gd name="connsiteY60" fmla="*/ 254794 h 542925"/>
              <a:gd name="connsiteX61" fmla="*/ 217170 w 533400"/>
              <a:gd name="connsiteY61" fmla="*/ 216694 h 542925"/>
              <a:gd name="connsiteX62" fmla="*/ 274701 w 533400"/>
              <a:gd name="connsiteY62" fmla="*/ 140494 h 542925"/>
              <a:gd name="connsiteX63" fmla="*/ 341757 w 533400"/>
              <a:gd name="connsiteY63" fmla="*/ 73819 h 542925"/>
              <a:gd name="connsiteX64" fmla="*/ 274701 w 533400"/>
              <a:gd name="connsiteY64" fmla="*/ 7144 h 542925"/>
              <a:gd name="connsiteX65" fmla="*/ 207645 w 533400"/>
              <a:gd name="connsiteY65" fmla="*/ 73819 h 542925"/>
              <a:gd name="connsiteX66" fmla="*/ 274701 w 533400"/>
              <a:gd name="connsiteY66" fmla="*/ 140494 h 542925"/>
              <a:gd name="connsiteX67" fmla="*/ 274701 w 533400"/>
              <a:gd name="connsiteY67" fmla="*/ 45244 h 542925"/>
              <a:gd name="connsiteX68" fmla="*/ 303467 w 533400"/>
              <a:gd name="connsiteY68" fmla="*/ 73819 h 542925"/>
              <a:gd name="connsiteX69" fmla="*/ 274701 w 533400"/>
              <a:gd name="connsiteY69" fmla="*/ 102394 h 542925"/>
              <a:gd name="connsiteX70" fmla="*/ 245936 w 533400"/>
              <a:gd name="connsiteY70" fmla="*/ 73819 h 542925"/>
              <a:gd name="connsiteX71" fmla="*/ 274701 w 533400"/>
              <a:gd name="connsiteY71" fmla="*/ 452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33400" h="542925">
                <a:moveTo>
                  <a:pt x="534162" y="226219"/>
                </a:moveTo>
                <a:cubicBezTo>
                  <a:pt x="534162" y="189452"/>
                  <a:pt x="504063" y="159544"/>
                  <a:pt x="467106" y="159544"/>
                </a:cubicBezTo>
                <a:lnTo>
                  <a:pt x="467106" y="178594"/>
                </a:lnTo>
                <a:lnTo>
                  <a:pt x="467106" y="197644"/>
                </a:lnTo>
                <a:cubicBezTo>
                  <a:pt x="482918" y="197644"/>
                  <a:pt x="495872" y="210503"/>
                  <a:pt x="495872" y="226219"/>
                </a:cubicBezTo>
                <a:cubicBezTo>
                  <a:pt x="495872" y="238601"/>
                  <a:pt x="487871" y="249079"/>
                  <a:pt x="476822" y="252984"/>
                </a:cubicBezTo>
                <a:cubicBezTo>
                  <a:pt x="473869" y="247269"/>
                  <a:pt x="470725" y="241744"/>
                  <a:pt x="467106" y="236411"/>
                </a:cubicBezTo>
                <a:cubicBezTo>
                  <a:pt x="436150" y="190119"/>
                  <a:pt x="383286" y="159544"/>
                  <a:pt x="323374" y="159544"/>
                </a:cubicBezTo>
                <a:lnTo>
                  <a:pt x="208788" y="159544"/>
                </a:lnTo>
                <a:cubicBezTo>
                  <a:pt x="191834" y="141542"/>
                  <a:pt x="167640" y="130969"/>
                  <a:pt x="141351" y="130969"/>
                </a:cubicBezTo>
                <a:lnTo>
                  <a:pt x="103061" y="130969"/>
                </a:lnTo>
                <a:lnTo>
                  <a:pt x="103061" y="169069"/>
                </a:lnTo>
                <a:lnTo>
                  <a:pt x="103061" y="195453"/>
                </a:lnTo>
                <a:cubicBezTo>
                  <a:pt x="82296" y="211360"/>
                  <a:pt x="65532" y="231648"/>
                  <a:pt x="54007" y="254794"/>
                </a:cubicBezTo>
                <a:lnTo>
                  <a:pt x="45434" y="254794"/>
                </a:lnTo>
                <a:lnTo>
                  <a:pt x="7144" y="254794"/>
                </a:lnTo>
                <a:lnTo>
                  <a:pt x="7144" y="292894"/>
                </a:lnTo>
                <a:lnTo>
                  <a:pt x="7144" y="369094"/>
                </a:lnTo>
                <a:lnTo>
                  <a:pt x="7144" y="407194"/>
                </a:lnTo>
                <a:lnTo>
                  <a:pt x="45434" y="407194"/>
                </a:lnTo>
                <a:lnTo>
                  <a:pt x="53912" y="407194"/>
                </a:lnTo>
                <a:cubicBezTo>
                  <a:pt x="68961" y="437198"/>
                  <a:pt x="92869" y="462439"/>
                  <a:pt x="122111" y="479298"/>
                </a:cubicBezTo>
                <a:lnTo>
                  <a:pt x="122111" y="502444"/>
                </a:lnTo>
                <a:lnTo>
                  <a:pt x="122111" y="540544"/>
                </a:lnTo>
                <a:lnTo>
                  <a:pt x="160401" y="540544"/>
                </a:lnTo>
                <a:lnTo>
                  <a:pt x="208312" y="540544"/>
                </a:lnTo>
                <a:lnTo>
                  <a:pt x="246602" y="540544"/>
                </a:lnTo>
                <a:lnTo>
                  <a:pt x="246602" y="502444"/>
                </a:lnTo>
                <a:lnTo>
                  <a:pt x="284893" y="502444"/>
                </a:lnTo>
                <a:lnTo>
                  <a:pt x="284893" y="540544"/>
                </a:lnTo>
                <a:lnTo>
                  <a:pt x="323183" y="540544"/>
                </a:lnTo>
                <a:lnTo>
                  <a:pt x="371094" y="540544"/>
                </a:lnTo>
                <a:lnTo>
                  <a:pt x="409385" y="540544"/>
                </a:lnTo>
                <a:lnTo>
                  <a:pt x="409385" y="502444"/>
                </a:lnTo>
                <a:lnTo>
                  <a:pt x="409385" y="479298"/>
                </a:lnTo>
                <a:cubicBezTo>
                  <a:pt x="461867" y="449009"/>
                  <a:pt x="495586" y="392335"/>
                  <a:pt x="495586" y="330994"/>
                </a:cubicBezTo>
                <a:cubicBezTo>
                  <a:pt x="495586" y="316325"/>
                  <a:pt x="493490" y="302228"/>
                  <a:pt x="490061" y="288703"/>
                </a:cubicBezTo>
                <a:cubicBezTo>
                  <a:pt x="515874" y="279273"/>
                  <a:pt x="534162" y="254889"/>
                  <a:pt x="534162" y="226219"/>
                </a:cubicBezTo>
                <a:close/>
                <a:moveTo>
                  <a:pt x="371285" y="455390"/>
                </a:moveTo>
                <a:lnTo>
                  <a:pt x="371285" y="502444"/>
                </a:lnTo>
                <a:lnTo>
                  <a:pt x="323374" y="502444"/>
                </a:lnTo>
                <a:lnTo>
                  <a:pt x="323374" y="464344"/>
                </a:lnTo>
                <a:lnTo>
                  <a:pt x="208407" y="464344"/>
                </a:lnTo>
                <a:lnTo>
                  <a:pt x="208407" y="502444"/>
                </a:lnTo>
                <a:lnTo>
                  <a:pt x="160496" y="502444"/>
                </a:lnTo>
                <a:lnTo>
                  <a:pt x="160496" y="455390"/>
                </a:lnTo>
                <a:cubicBezTo>
                  <a:pt x="121825" y="440626"/>
                  <a:pt x="91821" y="408813"/>
                  <a:pt x="79915" y="369094"/>
                </a:cubicBezTo>
                <a:lnTo>
                  <a:pt x="45434" y="369094"/>
                </a:lnTo>
                <a:lnTo>
                  <a:pt x="45434" y="292894"/>
                </a:lnTo>
                <a:lnTo>
                  <a:pt x="79820" y="292894"/>
                </a:lnTo>
                <a:cubicBezTo>
                  <a:pt x="89630" y="260033"/>
                  <a:pt x="112014" y="232505"/>
                  <a:pt x="141256" y="215646"/>
                </a:cubicBezTo>
                <a:lnTo>
                  <a:pt x="141256" y="169069"/>
                </a:lnTo>
                <a:cubicBezTo>
                  <a:pt x="160401" y="169069"/>
                  <a:pt x="179546" y="178594"/>
                  <a:pt x="189167" y="197644"/>
                </a:cubicBezTo>
                <a:cubicBezTo>
                  <a:pt x="189167" y="197644"/>
                  <a:pt x="204978" y="197644"/>
                  <a:pt x="208312" y="197644"/>
                </a:cubicBezTo>
                <a:lnTo>
                  <a:pt x="323374" y="197644"/>
                </a:lnTo>
                <a:cubicBezTo>
                  <a:pt x="397478" y="197644"/>
                  <a:pt x="457486" y="257366"/>
                  <a:pt x="457486" y="330994"/>
                </a:cubicBezTo>
                <a:cubicBezTo>
                  <a:pt x="457486" y="387858"/>
                  <a:pt x="421672" y="436245"/>
                  <a:pt x="371285" y="455390"/>
                </a:cubicBezTo>
                <a:close/>
                <a:moveTo>
                  <a:pt x="217170" y="216694"/>
                </a:moveTo>
                <a:lnTo>
                  <a:pt x="332137" y="216694"/>
                </a:lnTo>
                <a:lnTo>
                  <a:pt x="332137" y="254794"/>
                </a:lnTo>
                <a:lnTo>
                  <a:pt x="217170" y="254794"/>
                </a:lnTo>
                <a:lnTo>
                  <a:pt x="217170" y="216694"/>
                </a:lnTo>
                <a:close/>
                <a:moveTo>
                  <a:pt x="274701" y="140494"/>
                </a:moveTo>
                <a:cubicBezTo>
                  <a:pt x="311658" y="140494"/>
                  <a:pt x="341757" y="110585"/>
                  <a:pt x="341757" y="73819"/>
                </a:cubicBezTo>
                <a:cubicBezTo>
                  <a:pt x="341757" y="37052"/>
                  <a:pt x="311658" y="7144"/>
                  <a:pt x="274701" y="7144"/>
                </a:cubicBezTo>
                <a:cubicBezTo>
                  <a:pt x="237744" y="7144"/>
                  <a:pt x="207645" y="37052"/>
                  <a:pt x="207645" y="73819"/>
                </a:cubicBezTo>
                <a:cubicBezTo>
                  <a:pt x="207645" y="110585"/>
                  <a:pt x="237649" y="140494"/>
                  <a:pt x="274701" y="140494"/>
                </a:cubicBezTo>
                <a:close/>
                <a:moveTo>
                  <a:pt x="274701" y="45244"/>
                </a:moveTo>
                <a:cubicBezTo>
                  <a:pt x="290513" y="45244"/>
                  <a:pt x="303467" y="58103"/>
                  <a:pt x="303467" y="73819"/>
                </a:cubicBezTo>
                <a:cubicBezTo>
                  <a:pt x="303467" y="89535"/>
                  <a:pt x="290608" y="102394"/>
                  <a:pt x="274701" y="102394"/>
                </a:cubicBezTo>
                <a:cubicBezTo>
                  <a:pt x="258890" y="102394"/>
                  <a:pt x="245936" y="89535"/>
                  <a:pt x="245936" y="73819"/>
                </a:cubicBezTo>
                <a:cubicBezTo>
                  <a:pt x="245936" y="58103"/>
                  <a:pt x="258794" y="45244"/>
                  <a:pt x="274701" y="45244"/>
                </a:cubicBezTo>
                <a:close/>
              </a:path>
            </a:pathLst>
          </a:custGeom>
          <a:solidFill>
            <a:srgbClr val="002856"/>
          </a:solidFill>
          <a:ln w="9525" cap="flat">
            <a:noFill/>
            <a:prstDash val="solid"/>
            <a:miter/>
          </a:ln>
        </p:spPr>
        <p:txBody>
          <a:bodyPr rtlCol="0" anchor="ctr"/>
          <a:lstStyle/>
          <a:p>
            <a:endParaRPr lang="en-US" sz="1350"/>
          </a:p>
        </p:txBody>
      </p:sp>
      <p:sp>
        <p:nvSpPr>
          <p:cNvPr id="8" name="Graphic 203">
            <a:extLst>
              <a:ext uri="{FF2B5EF4-FFF2-40B4-BE49-F238E27FC236}">
                <a16:creationId xmlns:a16="http://schemas.microsoft.com/office/drawing/2014/main" id="{485E70B3-B412-E71D-9C9B-D433C5FED118}"/>
              </a:ext>
            </a:extLst>
          </p:cNvPr>
          <p:cNvSpPr/>
          <p:nvPr/>
        </p:nvSpPr>
        <p:spPr>
          <a:xfrm>
            <a:off x="8192346" y="1017866"/>
            <a:ext cx="376947" cy="384290"/>
          </a:xfrm>
          <a:custGeom>
            <a:avLst/>
            <a:gdLst>
              <a:gd name="connsiteX0" fmla="*/ 441350 w 502596"/>
              <a:gd name="connsiteY0" fmla="*/ 297504 h 512387"/>
              <a:gd name="connsiteX1" fmla="*/ 470230 w 502596"/>
              <a:gd name="connsiteY1" fmla="*/ 237315 h 512387"/>
              <a:gd name="connsiteX2" fmla="*/ 392878 w 502596"/>
              <a:gd name="connsiteY2" fmla="*/ 159963 h 512387"/>
              <a:gd name="connsiteX3" fmla="*/ 315535 w 502596"/>
              <a:gd name="connsiteY3" fmla="*/ 237315 h 512387"/>
              <a:gd name="connsiteX4" fmla="*/ 344405 w 502596"/>
              <a:gd name="connsiteY4" fmla="*/ 297504 h 512387"/>
              <a:gd name="connsiteX5" fmla="*/ 311058 w 502596"/>
              <a:gd name="connsiteY5" fmla="*/ 297504 h 512387"/>
              <a:gd name="connsiteX6" fmla="*/ 251289 w 502596"/>
              <a:gd name="connsiteY6" fmla="*/ 269186 h 512387"/>
              <a:gd name="connsiteX7" fmla="*/ 191519 w 502596"/>
              <a:gd name="connsiteY7" fmla="*/ 297504 h 512387"/>
              <a:gd name="connsiteX8" fmla="*/ 158172 w 502596"/>
              <a:gd name="connsiteY8" fmla="*/ 297504 h 512387"/>
              <a:gd name="connsiteX9" fmla="*/ 187042 w 502596"/>
              <a:gd name="connsiteY9" fmla="*/ 237315 h 512387"/>
              <a:gd name="connsiteX10" fmla="*/ 109690 w 502596"/>
              <a:gd name="connsiteY10" fmla="*/ 159963 h 512387"/>
              <a:gd name="connsiteX11" fmla="*/ 32337 w 502596"/>
              <a:gd name="connsiteY11" fmla="*/ 237315 h 512387"/>
              <a:gd name="connsiteX12" fmla="*/ 61208 w 502596"/>
              <a:gd name="connsiteY12" fmla="*/ 297504 h 512387"/>
              <a:gd name="connsiteX13" fmla="*/ 0 w 502596"/>
              <a:gd name="connsiteY13" fmla="*/ 297504 h 512387"/>
              <a:gd name="connsiteX14" fmla="*/ 0 w 502596"/>
              <a:gd name="connsiteY14" fmla="*/ 447675 h 512387"/>
              <a:gd name="connsiteX15" fmla="*/ 33338 w 502596"/>
              <a:gd name="connsiteY15" fmla="*/ 447675 h 512387"/>
              <a:gd name="connsiteX16" fmla="*/ 33338 w 502596"/>
              <a:gd name="connsiteY16" fmla="*/ 330841 h 512387"/>
              <a:gd name="connsiteX17" fmla="*/ 175555 w 502596"/>
              <a:gd name="connsiteY17" fmla="*/ 330841 h 512387"/>
              <a:gd name="connsiteX18" fmla="*/ 173946 w 502596"/>
              <a:gd name="connsiteY18" fmla="*/ 346529 h 512387"/>
              <a:gd name="connsiteX19" fmla="*/ 202825 w 502596"/>
              <a:gd name="connsiteY19" fmla="*/ 406718 h 512387"/>
              <a:gd name="connsiteX20" fmla="*/ 145628 w 502596"/>
              <a:gd name="connsiteY20" fmla="*/ 406718 h 512387"/>
              <a:gd name="connsiteX21" fmla="*/ 145628 w 502596"/>
              <a:gd name="connsiteY21" fmla="*/ 512388 h 512387"/>
              <a:gd name="connsiteX22" fmla="*/ 178965 w 502596"/>
              <a:gd name="connsiteY22" fmla="*/ 512388 h 512387"/>
              <a:gd name="connsiteX23" fmla="*/ 178965 w 502596"/>
              <a:gd name="connsiteY23" fmla="*/ 440055 h 512387"/>
              <a:gd name="connsiteX24" fmla="*/ 323631 w 502596"/>
              <a:gd name="connsiteY24" fmla="*/ 440055 h 512387"/>
              <a:gd name="connsiteX25" fmla="*/ 323631 w 502596"/>
              <a:gd name="connsiteY25" fmla="*/ 512388 h 512387"/>
              <a:gd name="connsiteX26" fmla="*/ 356968 w 502596"/>
              <a:gd name="connsiteY26" fmla="*/ 512388 h 512387"/>
              <a:gd name="connsiteX27" fmla="*/ 356968 w 502596"/>
              <a:gd name="connsiteY27" fmla="*/ 406727 h 512387"/>
              <a:gd name="connsiteX28" fmla="*/ 299771 w 502596"/>
              <a:gd name="connsiteY28" fmla="*/ 406727 h 512387"/>
              <a:gd name="connsiteX29" fmla="*/ 328651 w 502596"/>
              <a:gd name="connsiteY29" fmla="*/ 346539 h 512387"/>
              <a:gd name="connsiteX30" fmla="*/ 327041 w 502596"/>
              <a:gd name="connsiteY30" fmla="*/ 330851 h 512387"/>
              <a:gd name="connsiteX31" fmla="*/ 469259 w 502596"/>
              <a:gd name="connsiteY31" fmla="*/ 330851 h 512387"/>
              <a:gd name="connsiteX32" fmla="*/ 469259 w 502596"/>
              <a:gd name="connsiteY32" fmla="*/ 447675 h 512387"/>
              <a:gd name="connsiteX33" fmla="*/ 502596 w 502596"/>
              <a:gd name="connsiteY33" fmla="*/ 447675 h 512387"/>
              <a:gd name="connsiteX34" fmla="*/ 502596 w 502596"/>
              <a:gd name="connsiteY34" fmla="*/ 297504 h 512387"/>
              <a:gd name="connsiteX35" fmla="*/ 441350 w 502596"/>
              <a:gd name="connsiteY35" fmla="*/ 297504 h 512387"/>
              <a:gd name="connsiteX36" fmla="*/ 392878 w 502596"/>
              <a:gd name="connsiteY36" fmla="*/ 193310 h 512387"/>
              <a:gd name="connsiteX37" fmla="*/ 436893 w 502596"/>
              <a:gd name="connsiteY37" fmla="*/ 237325 h 512387"/>
              <a:gd name="connsiteX38" fmla="*/ 392878 w 502596"/>
              <a:gd name="connsiteY38" fmla="*/ 281340 h 512387"/>
              <a:gd name="connsiteX39" fmla="*/ 348872 w 502596"/>
              <a:gd name="connsiteY39" fmla="*/ 237325 h 512387"/>
              <a:gd name="connsiteX40" fmla="*/ 392878 w 502596"/>
              <a:gd name="connsiteY40" fmla="*/ 193310 h 512387"/>
              <a:gd name="connsiteX41" fmla="*/ 109709 w 502596"/>
              <a:gd name="connsiteY41" fmla="*/ 193310 h 512387"/>
              <a:gd name="connsiteX42" fmla="*/ 153724 w 502596"/>
              <a:gd name="connsiteY42" fmla="*/ 237325 h 512387"/>
              <a:gd name="connsiteX43" fmla="*/ 109709 w 502596"/>
              <a:gd name="connsiteY43" fmla="*/ 281340 h 512387"/>
              <a:gd name="connsiteX44" fmla="*/ 65694 w 502596"/>
              <a:gd name="connsiteY44" fmla="*/ 237325 h 512387"/>
              <a:gd name="connsiteX45" fmla="*/ 109709 w 502596"/>
              <a:gd name="connsiteY45" fmla="*/ 193310 h 512387"/>
              <a:gd name="connsiteX46" fmla="*/ 251298 w 502596"/>
              <a:gd name="connsiteY46" fmla="*/ 302533 h 512387"/>
              <a:gd name="connsiteX47" fmla="*/ 295304 w 502596"/>
              <a:gd name="connsiteY47" fmla="*/ 346539 h 512387"/>
              <a:gd name="connsiteX48" fmla="*/ 251298 w 502596"/>
              <a:gd name="connsiteY48" fmla="*/ 390554 h 512387"/>
              <a:gd name="connsiteX49" fmla="*/ 207283 w 502596"/>
              <a:gd name="connsiteY49" fmla="*/ 346539 h 512387"/>
              <a:gd name="connsiteX50" fmla="*/ 251298 w 502596"/>
              <a:gd name="connsiteY50" fmla="*/ 302533 h 512387"/>
              <a:gd name="connsiteX51" fmla="*/ 267967 w 502596"/>
              <a:gd name="connsiteY51" fmla="*/ 93621 h 512387"/>
              <a:gd name="connsiteX52" fmla="*/ 234629 w 502596"/>
              <a:gd name="connsiteY52" fmla="*/ 93621 h 512387"/>
              <a:gd name="connsiteX53" fmla="*/ 234629 w 502596"/>
              <a:gd name="connsiteY53" fmla="*/ 0 h 512387"/>
              <a:gd name="connsiteX54" fmla="*/ 267967 w 502596"/>
              <a:gd name="connsiteY54" fmla="*/ 0 h 512387"/>
              <a:gd name="connsiteX55" fmla="*/ 267967 w 502596"/>
              <a:gd name="connsiteY55" fmla="*/ 93621 h 512387"/>
              <a:gd name="connsiteX56" fmla="*/ 152343 w 502596"/>
              <a:gd name="connsiteY56" fmla="*/ 125368 h 512387"/>
              <a:gd name="connsiteX57" fmla="*/ 112100 w 502596"/>
              <a:gd name="connsiteY57" fmla="*/ 40843 h 512387"/>
              <a:gd name="connsiteX58" fmla="*/ 142199 w 502596"/>
              <a:gd name="connsiteY58" fmla="*/ 26508 h 512387"/>
              <a:gd name="connsiteX59" fmla="*/ 182442 w 502596"/>
              <a:gd name="connsiteY59" fmla="*/ 111033 h 512387"/>
              <a:gd name="connsiteX60" fmla="*/ 152343 w 502596"/>
              <a:gd name="connsiteY60" fmla="*/ 125368 h 512387"/>
              <a:gd name="connsiteX61" fmla="*/ 350244 w 502596"/>
              <a:gd name="connsiteY61" fmla="*/ 125368 h 512387"/>
              <a:gd name="connsiteX62" fmla="*/ 320145 w 502596"/>
              <a:gd name="connsiteY62" fmla="*/ 111033 h 512387"/>
              <a:gd name="connsiteX63" fmla="*/ 360388 w 502596"/>
              <a:gd name="connsiteY63" fmla="*/ 26508 h 512387"/>
              <a:gd name="connsiteX64" fmla="*/ 390487 w 502596"/>
              <a:gd name="connsiteY64" fmla="*/ 40843 h 512387"/>
              <a:gd name="connsiteX65" fmla="*/ 350244 w 502596"/>
              <a:gd name="connsiteY65" fmla="*/ 125368 h 51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02596" h="512387">
                <a:moveTo>
                  <a:pt x="441350" y="297504"/>
                </a:moveTo>
                <a:cubicBezTo>
                  <a:pt x="458934" y="283312"/>
                  <a:pt x="470230" y="261623"/>
                  <a:pt x="470230" y="237315"/>
                </a:cubicBezTo>
                <a:cubicBezTo>
                  <a:pt x="470230" y="194662"/>
                  <a:pt x="435521" y="159963"/>
                  <a:pt x="392878" y="159963"/>
                </a:cubicBezTo>
                <a:cubicBezTo>
                  <a:pt x="350234" y="159963"/>
                  <a:pt x="315535" y="194662"/>
                  <a:pt x="315535" y="237315"/>
                </a:cubicBezTo>
                <a:cubicBezTo>
                  <a:pt x="315535" y="261623"/>
                  <a:pt x="326822" y="283312"/>
                  <a:pt x="344405" y="297504"/>
                </a:cubicBezTo>
                <a:lnTo>
                  <a:pt x="311058" y="297504"/>
                </a:lnTo>
                <a:cubicBezTo>
                  <a:pt x="296866" y="280226"/>
                  <a:pt x="275349" y="269186"/>
                  <a:pt x="251289" y="269186"/>
                </a:cubicBezTo>
                <a:cubicBezTo>
                  <a:pt x="227228" y="269186"/>
                  <a:pt x="205721" y="280226"/>
                  <a:pt x="191519" y="297504"/>
                </a:cubicBezTo>
                <a:lnTo>
                  <a:pt x="158172" y="297504"/>
                </a:lnTo>
                <a:cubicBezTo>
                  <a:pt x="175755" y="283312"/>
                  <a:pt x="187042" y="261623"/>
                  <a:pt x="187042" y="237315"/>
                </a:cubicBezTo>
                <a:cubicBezTo>
                  <a:pt x="187042" y="194662"/>
                  <a:pt x="152343" y="159963"/>
                  <a:pt x="109690" y="159963"/>
                </a:cubicBezTo>
                <a:cubicBezTo>
                  <a:pt x="67037" y="159963"/>
                  <a:pt x="32337" y="194662"/>
                  <a:pt x="32337" y="237315"/>
                </a:cubicBezTo>
                <a:cubicBezTo>
                  <a:pt x="32337" y="261623"/>
                  <a:pt x="43625" y="283312"/>
                  <a:pt x="61208" y="297504"/>
                </a:cubicBezTo>
                <a:lnTo>
                  <a:pt x="0" y="297504"/>
                </a:lnTo>
                <a:lnTo>
                  <a:pt x="0" y="447675"/>
                </a:lnTo>
                <a:lnTo>
                  <a:pt x="33338" y="447675"/>
                </a:lnTo>
                <a:lnTo>
                  <a:pt x="33338" y="330841"/>
                </a:lnTo>
                <a:lnTo>
                  <a:pt x="175555" y="330841"/>
                </a:lnTo>
                <a:cubicBezTo>
                  <a:pt x="174508" y="335909"/>
                  <a:pt x="173946" y="341157"/>
                  <a:pt x="173946" y="346529"/>
                </a:cubicBezTo>
                <a:cubicBezTo>
                  <a:pt x="173946" y="370837"/>
                  <a:pt x="185233" y="392525"/>
                  <a:pt x="202825" y="406718"/>
                </a:cubicBezTo>
                <a:lnTo>
                  <a:pt x="145628" y="406718"/>
                </a:lnTo>
                <a:lnTo>
                  <a:pt x="145628" y="512388"/>
                </a:lnTo>
                <a:lnTo>
                  <a:pt x="178965" y="512388"/>
                </a:lnTo>
                <a:lnTo>
                  <a:pt x="178965" y="440055"/>
                </a:lnTo>
                <a:lnTo>
                  <a:pt x="323631" y="440055"/>
                </a:lnTo>
                <a:lnTo>
                  <a:pt x="323631" y="512388"/>
                </a:lnTo>
                <a:lnTo>
                  <a:pt x="356968" y="512388"/>
                </a:lnTo>
                <a:lnTo>
                  <a:pt x="356968" y="406727"/>
                </a:lnTo>
                <a:lnTo>
                  <a:pt x="299771" y="406727"/>
                </a:lnTo>
                <a:cubicBezTo>
                  <a:pt x="317354" y="392535"/>
                  <a:pt x="328651" y="370837"/>
                  <a:pt x="328651" y="346539"/>
                </a:cubicBezTo>
                <a:cubicBezTo>
                  <a:pt x="328651" y="341166"/>
                  <a:pt x="328089" y="335918"/>
                  <a:pt x="327041" y="330851"/>
                </a:cubicBezTo>
                <a:lnTo>
                  <a:pt x="469259" y="330851"/>
                </a:lnTo>
                <a:lnTo>
                  <a:pt x="469259" y="447675"/>
                </a:lnTo>
                <a:lnTo>
                  <a:pt x="502596" y="447675"/>
                </a:lnTo>
                <a:lnTo>
                  <a:pt x="502596" y="297504"/>
                </a:lnTo>
                <a:lnTo>
                  <a:pt x="441350" y="297504"/>
                </a:lnTo>
                <a:close/>
                <a:moveTo>
                  <a:pt x="392878" y="193310"/>
                </a:moveTo>
                <a:cubicBezTo>
                  <a:pt x="417147" y="193310"/>
                  <a:pt x="436893" y="213055"/>
                  <a:pt x="436893" y="237325"/>
                </a:cubicBezTo>
                <a:cubicBezTo>
                  <a:pt x="436893" y="261595"/>
                  <a:pt x="417147" y="281340"/>
                  <a:pt x="392878" y="281340"/>
                </a:cubicBezTo>
                <a:cubicBezTo>
                  <a:pt x="368608" y="281340"/>
                  <a:pt x="348872" y="261595"/>
                  <a:pt x="348872" y="237325"/>
                </a:cubicBezTo>
                <a:cubicBezTo>
                  <a:pt x="348872" y="213055"/>
                  <a:pt x="368608" y="193310"/>
                  <a:pt x="392878" y="193310"/>
                </a:cubicBezTo>
                <a:close/>
                <a:moveTo>
                  <a:pt x="109709" y="193310"/>
                </a:moveTo>
                <a:cubicBezTo>
                  <a:pt x="133979" y="193310"/>
                  <a:pt x="153724" y="213055"/>
                  <a:pt x="153724" y="237325"/>
                </a:cubicBezTo>
                <a:cubicBezTo>
                  <a:pt x="153724" y="261595"/>
                  <a:pt x="133979" y="281340"/>
                  <a:pt x="109709" y="281340"/>
                </a:cubicBezTo>
                <a:cubicBezTo>
                  <a:pt x="85439" y="281340"/>
                  <a:pt x="65694" y="261595"/>
                  <a:pt x="65694" y="237325"/>
                </a:cubicBezTo>
                <a:cubicBezTo>
                  <a:pt x="65694" y="213055"/>
                  <a:pt x="85439" y="193310"/>
                  <a:pt x="109709" y="193310"/>
                </a:cubicBezTo>
                <a:close/>
                <a:moveTo>
                  <a:pt x="251298" y="302533"/>
                </a:moveTo>
                <a:cubicBezTo>
                  <a:pt x="275568" y="302533"/>
                  <a:pt x="295304" y="322269"/>
                  <a:pt x="295304" y="346539"/>
                </a:cubicBezTo>
                <a:cubicBezTo>
                  <a:pt x="295304" y="370808"/>
                  <a:pt x="275568" y="390554"/>
                  <a:pt x="251298" y="390554"/>
                </a:cubicBezTo>
                <a:cubicBezTo>
                  <a:pt x="227028" y="390554"/>
                  <a:pt x="207283" y="370808"/>
                  <a:pt x="207283" y="346539"/>
                </a:cubicBezTo>
                <a:cubicBezTo>
                  <a:pt x="207283" y="322269"/>
                  <a:pt x="227028" y="302533"/>
                  <a:pt x="251298" y="302533"/>
                </a:cubicBezTo>
                <a:close/>
                <a:moveTo>
                  <a:pt x="267967" y="93621"/>
                </a:moveTo>
                <a:lnTo>
                  <a:pt x="234629" y="93621"/>
                </a:lnTo>
                <a:lnTo>
                  <a:pt x="234629" y="0"/>
                </a:lnTo>
                <a:lnTo>
                  <a:pt x="267967" y="0"/>
                </a:lnTo>
                <a:lnTo>
                  <a:pt x="267967" y="93621"/>
                </a:lnTo>
                <a:close/>
                <a:moveTo>
                  <a:pt x="152343" y="125368"/>
                </a:moveTo>
                <a:lnTo>
                  <a:pt x="112100" y="40843"/>
                </a:lnTo>
                <a:lnTo>
                  <a:pt x="142199" y="26508"/>
                </a:lnTo>
                <a:lnTo>
                  <a:pt x="182442" y="111033"/>
                </a:lnTo>
                <a:lnTo>
                  <a:pt x="152343" y="125368"/>
                </a:lnTo>
                <a:close/>
                <a:moveTo>
                  <a:pt x="350244" y="125368"/>
                </a:moveTo>
                <a:lnTo>
                  <a:pt x="320145" y="111033"/>
                </a:lnTo>
                <a:lnTo>
                  <a:pt x="360388" y="26508"/>
                </a:lnTo>
                <a:lnTo>
                  <a:pt x="390487" y="40843"/>
                </a:lnTo>
                <a:lnTo>
                  <a:pt x="350244" y="125368"/>
                </a:lnTo>
                <a:close/>
              </a:path>
            </a:pathLst>
          </a:custGeom>
          <a:solidFill>
            <a:srgbClr val="002856"/>
          </a:solidFill>
          <a:ln w="9525" cap="flat">
            <a:noFill/>
            <a:prstDash val="solid"/>
            <a:miter/>
          </a:ln>
        </p:spPr>
        <p:txBody>
          <a:bodyPr rtlCol="0" anchor="ctr"/>
          <a:lstStyle/>
          <a:p>
            <a:endParaRPr lang="en-US" sz="1350"/>
          </a:p>
        </p:txBody>
      </p:sp>
      <p:sp>
        <p:nvSpPr>
          <p:cNvPr id="3" name="TextBox 2">
            <a:extLst>
              <a:ext uri="{FF2B5EF4-FFF2-40B4-BE49-F238E27FC236}">
                <a16:creationId xmlns:a16="http://schemas.microsoft.com/office/drawing/2014/main" id="{BF9B6639-7461-83BC-E88A-59AE654F3352}"/>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4965807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51DBD2C1-EBD4-40EA-E460-06226B7E30CA}"/>
              </a:ext>
            </a:extLst>
          </p:cNvPr>
          <p:cNvSpPr/>
          <p:nvPr/>
        </p:nvSpPr>
        <p:spPr>
          <a:xfrm>
            <a:off x="0" y="1317952"/>
            <a:ext cx="9144000" cy="3336833"/>
          </a:xfrm>
          <a:prstGeom prst="homePlate">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342900">
              <a:buFont typeface="Arial" panose="020B0604020202020204" pitchFamily="34" charset="0"/>
              <a:buChar char="•"/>
              <a:defRPr/>
            </a:pPr>
            <a:endParaRPr lang="en-US" sz="1350">
              <a:solidFill>
                <a:prstClr val="black"/>
              </a:solidFill>
              <a:latin typeface="Arial" panose="020B0604020202020204"/>
            </a:endParaRPr>
          </a:p>
        </p:txBody>
      </p:sp>
      <p:graphicFrame>
        <p:nvGraphicFramePr>
          <p:cNvPr id="7" name="Object 6" hidden="1">
            <a:extLst>
              <a:ext uri="{FF2B5EF4-FFF2-40B4-BE49-F238E27FC236}">
                <a16:creationId xmlns:a16="http://schemas.microsoft.com/office/drawing/2014/main" id="{3CAB29AD-BCC4-CF4A-A2FD-81CB0EED081A}"/>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3CAB29AD-BCC4-CF4A-A2FD-81CB0EED081A}"/>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3D07603-3015-8445-90FE-26B222EE7485}"/>
              </a:ext>
            </a:extLst>
          </p:cNvPr>
          <p:cNvSpPr/>
          <p:nvPr/>
        </p:nvSpPr>
        <p:spPr>
          <a:xfrm>
            <a:off x="841234" y="1347209"/>
            <a:ext cx="4144301" cy="369332"/>
          </a:xfrm>
          <a:prstGeom prst="rect">
            <a:avLst/>
          </a:prstGeom>
        </p:spPr>
        <p:txBody>
          <a:bodyPr wrap="square">
            <a:spAutoFit/>
          </a:bodyPr>
          <a:lstStyle/>
          <a:p>
            <a:pPr defTabSz="685800">
              <a:defRPr/>
            </a:pPr>
            <a:r>
              <a:rPr lang="en-US" b="1">
                <a:solidFill>
                  <a:srgbClr val="009AD7"/>
                </a:solidFill>
                <a:latin typeface="Arial" panose="020B0604020202020204"/>
              </a:rPr>
              <a:t>Top questions</a:t>
            </a:r>
          </a:p>
        </p:txBody>
      </p:sp>
      <p:sp>
        <p:nvSpPr>
          <p:cNvPr id="4" name="Rectangle 3">
            <a:extLst>
              <a:ext uri="{FF2B5EF4-FFF2-40B4-BE49-F238E27FC236}">
                <a16:creationId xmlns:a16="http://schemas.microsoft.com/office/drawing/2014/main" id="{97FF7F7D-9AFC-117A-CC4F-EB97D3FB2896}"/>
              </a:ext>
            </a:extLst>
          </p:cNvPr>
          <p:cNvSpPr/>
          <p:nvPr/>
        </p:nvSpPr>
        <p:spPr>
          <a:xfrm>
            <a:off x="164208" y="284688"/>
            <a:ext cx="8271336" cy="738664"/>
          </a:xfrm>
          <a:prstGeom prst="rect">
            <a:avLst/>
          </a:prstGeom>
        </p:spPr>
        <p:txBody>
          <a:bodyPr wrap="square">
            <a:spAutoFit/>
          </a:bodyPr>
          <a:lstStyle/>
          <a:p>
            <a:pPr defTabSz="685800">
              <a:defRPr/>
            </a:pPr>
            <a:r>
              <a:rPr lang="en-US" sz="2100">
                <a:solidFill>
                  <a:srgbClr val="002856"/>
                </a:solidFill>
                <a:latin typeface="Arial Black" panose="020B0604020202020204" pitchFamily="34" charset="0"/>
              </a:rPr>
              <a:t>Architects across domains turn to Gartner for their most pressing questions</a:t>
            </a:r>
            <a:endParaRPr lang="en-US" sz="2100">
              <a:solidFill>
                <a:prstClr val="black"/>
              </a:solidFill>
              <a:latin typeface="Arial" panose="020B0604020202020204"/>
            </a:endParaRPr>
          </a:p>
        </p:txBody>
      </p:sp>
      <p:sp>
        <p:nvSpPr>
          <p:cNvPr id="2" name="Oval 1">
            <a:extLst>
              <a:ext uri="{FF2B5EF4-FFF2-40B4-BE49-F238E27FC236}">
                <a16:creationId xmlns:a16="http://schemas.microsoft.com/office/drawing/2014/main" id="{43A36086-A810-1873-E913-04FFB0EEAFB3}"/>
              </a:ext>
            </a:extLst>
          </p:cNvPr>
          <p:cNvSpPr>
            <a:spLocks noChangeAspect="1"/>
          </p:cNvSpPr>
          <p:nvPr/>
        </p:nvSpPr>
        <p:spPr>
          <a:xfrm>
            <a:off x="298334" y="1250059"/>
            <a:ext cx="527338" cy="5273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350">
              <a:solidFill>
                <a:srgbClr val="FFFFFF"/>
              </a:solidFill>
              <a:latin typeface="Arial"/>
            </a:endParaRPr>
          </a:p>
        </p:txBody>
      </p:sp>
      <p:sp>
        <p:nvSpPr>
          <p:cNvPr id="35" name="Freeform: Shape 160">
            <a:extLst>
              <a:ext uri="{FF2B5EF4-FFF2-40B4-BE49-F238E27FC236}">
                <a16:creationId xmlns:a16="http://schemas.microsoft.com/office/drawing/2014/main" id="{FE5AB717-7556-4822-80F6-692A202AA4CB}"/>
              </a:ext>
            </a:extLst>
          </p:cNvPr>
          <p:cNvSpPr/>
          <p:nvPr/>
        </p:nvSpPr>
        <p:spPr>
          <a:xfrm>
            <a:off x="351642" y="1303236"/>
            <a:ext cx="413627" cy="413627"/>
          </a:xfrm>
          <a:custGeom>
            <a:avLst/>
            <a:gdLst>
              <a:gd name="connsiteX0" fmla="*/ 364712 w 542925"/>
              <a:gd name="connsiteY0" fmla="*/ 188500 h 542925"/>
              <a:gd name="connsiteX1" fmla="*/ 338994 w 542925"/>
              <a:gd name="connsiteY1" fmla="*/ 269081 h 542925"/>
              <a:gd name="connsiteX2" fmla="*/ 318706 w 542925"/>
              <a:gd name="connsiteY2" fmla="*/ 287941 h 542925"/>
              <a:gd name="connsiteX3" fmla="*/ 292989 w 542925"/>
              <a:gd name="connsiteY3" fmla="*/ 346996 h 542925"/>
              <a:gd name="connsiteX4" fmla="*/ 292989 w 542925"/>
              <a:gd name="connsiteY4" fmla="*/ 359569 h 542925"/>
              <a:gd name="connsiteX5" fmla="*/ 254889 w 542925"/>
              <a:gd name="connsiteY5" fmla="*/ 359569 h 542925"/>
              <a:gd name="connsiteX6" fmla="*/ 254889 w 542925"/>
              <a:gd name="connsiteY6" fmla="*/ 346996 h 542925"/>
              <a:gd name="connsiteX7" fmla="*/ 292798 w 542925"/>
              <a:gd name="connsiteY7" fmla="*/ 260033 h 542925"/>
              <a:gd name="connsiteX8" fmla="*/ 312611 w 542925"/>
              <a:gd name="connsiteY8" fmla="*/ 241649 h 542925"/>
              <a:gd name="connsiteX9" fmla="*/ 327184 w 542925"/>
              <a:gd name="connsiteY9" fmla="*/ 194691 h 542925"/>
              <a:gd name="connsiteX10" fmla="*/ 280321 w 542925"/>
              <a:gd name="connsiteY10" fmla="*/ 150400 h 542925"/>
              <a:gd name="connsiteX11" fmla="*/ 238030 w 542925"/>
              <a:gd name="connsiteY11" fmla="*/ 163735 h 542925"/>
              <a:gd name="connsiteX12" fmla="*/ 220027 w 542925"/>
              <a:gd name="connsiteY12" fmla="*/ 204026 h 542925"/>
              <a:gd name="connsiteX13" fmla="*/ 220027 w 542925"/>
              <a:gd name="connsiteY13" fmla="*/ 219932 h 542925"/>
              <a:gd name="connsiteX14" fmla="*/ 181927 w 542925"/>
              <a:gd name="connsiteY14" fmla="*/ 219932 h 542925"/>
              <a:gd name="connsiteX15" fmla="*/ 181927 w 542925"/>
              <a:gd name="connsiteY15" fmla="*/ 204026 h 542925"/>
              <a:gd name="connsiteX16" fmla="*/ 212693 w 542925"/>
              <a:gd name="connsiteY16" fmla="*/ 135350 h 542925"/>
              <a:gd name="connsiteX17" fmla="*/ 284702 w 542925"/>
              <a:gd name="connsiteY17" fmla="*/ 112586 h 542925"/>
              <a:gd name="connsiteX18" fmla="*/ 364712 w 542925"/>
              <a:gd name="connsiteY18" fmla="*/ 188500 h 542925"/>
              <a:gd name="connsiteX19" fmla="*/ 273844 w 542925"/>
              <a:gd name="connsiteY19" fmla="*/ 388144 h 542925"/>
              <a:gd name="connsiteX20" fmla="*/ 247650 w 542925"/>
              <a:gd name="connsiteY20" fmla="*/ 414338 h 542925"/>
              <a:gd name="connsiteX21" fmla="*/ 273844 w 542925"/>
              <a:gd name="connsiteY21" fmla="*/ 440531 h 542925"/>
              <a:gd name="connsiteX22" fmla="*/ 300038 w 542925"/>
              <a:gd name="connsiteY22" fmla="*/ 414338 h 542925"/>
              <a:gd name="connsiteX23" fmla="*/ 273844 w 542925"/>
              <a:gd name="connsiteY23" fmla="*/ 388144 h 542925"/>
              <a:gd name="connsiteX24" fmla="*/ 540544 w 542925"/>
              <a:gd name="connsiteY24" fmla="*/ 273844 h 542925"/>
              <a:gd name="connsiteX25" fmla="*/ 273844 w 542925"/>
              <a:gd name="connsiteY25" fmla="*/ 540544 h 542925"/>
              <a:gd name="connsiteX26" fmla="*/ 7144 w 542925"/>
              <a:gd name="connsiteY26" fmla="*/ 273844 h 542925"/>
              <a:gd name="connsiteX27" fmla="*/ 273844 w 542925"/>
              <a:gd name="connsiteY27" fmla="*/ 7144 h 542925"/>
              <a:gd name="connsiteX28" fmla="*/ 540544 w 542925"/>
              <a:gd name="connsiteY28" fmla="*/ 273844 h 542925"/>
              <a:gd name="connsiteX29" fmla="*/ 502444 w 542925"/>
              <a:gd name="connsiteY29" fmla="*/ 273844 h 542925"/>
              <a:gd name="connsiteX30" fmla="*/ 273844 w 542925"/>
              <a:gd name="connsiteY30" fmla="*/ 45244 h 542925"/>
              <a:gd name="connsiteX31" fmla="*/ 45244 w 542925"/>
              <a:gd name="connsiteY31" fmla="*/ 273844 h 542925"/>
              <a:gd name="connsiteX32" fmla="*/ 273844 w 542925"/>
              <a:gd name="connsiteY32" fmla="*/ 502444 h 542925"/>
              <a:gd name="connsiteX33" fmla="*/ 502444 w 542925"/>
              <a:gd name="connsiteY33" fmla="*/ 2738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42925" h="542925">
                <a:moveTo>
                  <a:pt x="364712" y="188500"/>
                </a:moveTo>
                <a:cubicBezTo>
                  <a:pt x="369665" y="218504"/>
                  <a:pt x="360236" y="247841"/>
                  <a:pt x="338994" y="269081"/>
                </a:cubicBezTo>
                <a:lnTo>
                  <a:pt x="318706" y="287941"/>
                </a:lnTo>
                <a:cubicBezTo>
                  <a:pt x="302323" y="303181"/>
                  <a:pt x="292989" y="324612"/>
                  <a:pt x="292989" y="346996"/>
                </a:cubicBezTo>
                <a:lnTo>
                  <a:pt x="292989" y="359569"/>
                </a:lnTo>
                <a:lnTo>
                  <a:pt x="254889" y="359569"/>
                </a:lnTo>
                <a:lnTo>
                  <a:pt x="254889" y="346996"/>
                </a:lnTo>
                <a:cubicBezTo>
                  <a:pt x="254889" y="314135"/>
                  <a:pt x="268700" y="282416"/>
                  <a:pt x="292798" y="260033"/>
                </a:cubicBezTo>
                <a:lnTo>
                  <a:pt x="312611" y="241649"/>
                </a:lnTo>
                <a:cubicBezTo>
                  <a:pt x="324612" y="229648"/>
                  <a:pt x="330041" y="212408"/>
                  <a:pt x="327184" y="194691"/>
                </a:cubicBezTo>
                <a:cubicBezTo>
                  <a:pt x="323374" y="171641"/>
                  <a:pt x="303752" y="152972"/>
                  <a:pt x="280321" y="150400"/>
                </a:cubicBezTo>
                <a:cubicBezTo>
                  <a:pt x="264700" y="148590"/>
                  <a:pt x="249650" y="153353"/>
                  <a:pt x="238030" y="163735"/>
                </a:cubicBezTo>
                <a:cubicBezTo>
                  <a:pt x="226600" y="174022"/>
                  <a:pt x="220027" y="188690"/>
                  <a:pt x="220027" y="204026"/>
                </a:cubicBezTo>
                <a:lnTo>
                  <a:pt x="220027" y="219932"/>
                </a:lnTo>
                <a:lnTo>
                  <a:pt x="181927" y="219932"/>
                </a:lnTo>
                <a:lnTo>
                  <a:pt x="181927" y="204026"/>
                </a:lnTo>
                <a:cubicBezTo>
                  <a:pt x="181927" y="177832"/>
                  <a:pt x="193167" y="152781"/>
                  <a:pt x="212693" y="135350"/>
                </a:cubicBezTo>
                <a:cubicBezTo>
                  <a:pt x="232220" y="117920"/>
                  <a:pt x="258508" y="109633"/>
                  <a:pt x="284702" y="112586"/>
                </a:cubicBezTo>
                <a:cubicBezTo>
                  <a:pt x="325088" y="117062"/>
                  <a:pt x="358140" y="148400"/>
                  <a:pt x="364712" y="188500"/>
                </a:cubicBezTo>
                <a:close/>
                <a:moveTo>
                  <a:pt x="273844" y="388144"/>
                </a:moveTo>
                <a:cubicBezTo>
                  <a:pt x="259366" y="388144"/>
                  <a:pt x="247650" y="399860"/>
                  <a:pt x="247650" y="414338"/>
                </a:cubicBezTo>
                <a:cubicBezTo>
                  <a:pt x="247650" y="428816"/>
                  <a:pt x="259366" y="440531"/>
                  <a:pt x="273844" y="440531"/>
                </a:cubicBezTo>
                <a:cubicBezTo>
                  <a:pt x="288321" y="440531"/>
                  <a:pt x="300038" y="428816"/>
                  <a:pt x="300038" y="414338"/>
                </a:cubicBezTo>
                <a:cubicBezTo>
                  <a:pt x="300038" y="399860"/>
                  <a:pt x="288321" y="388144"/>
                  <a:pt x="273844" y="388144"/>
                </a:cubicBezTo>
                <a:close/>
                <a:moveTo>
                  <a:pt x="540544" y="273844"/>
                </a:moveTo>
                <a:cubicBezTo>
                  <a:pt x="540544" y="421100"/>
                  <a:pt x="421100" y="540544"/>
                  <a:pt x="273844" y="540544"/>
                </a:cubicBezTo>
                <a:cubicBezTo>
                  <a:pt x="126587" y="540544"/>
                  <a:pt x="7144" y="421100"/>
                  <a:pt x="7144" y="273844"/>
                </a:cubicBezTo>
                <a:cubicBezTo>
                  <a:pt x="7144" y="126587"/>
                  <a:pt x="126587" y="7144"/>
                  <a:pt x="273844" y="7144"/>
                </a:cubicBezTo>
                <a:cubicBezTo>
                  <a:pt x="421100" y="7144"/>
                  <a:pt x="540544" y="126587"/>
                  <a:pt x="540544" y="273844"/>
                </a:cubicBezTo>
                <a:close/>
                <a:moveTo>
                  <a:pt x="502444" y="273844"/>
                </a:moveTo>
                <a:cubicBezTo>
                  <a:pt x="502444" y="147828"/>
                  <a:pt x="399859" y="45244"/>
                  <a:pt x="273844" y="45244"/>
                </a:cubicBezTo>
                <a:cubicBezTo>
                  <a:pt x="147828" y="45244"/>
                  <a:pt x="45244" y="147828"/>
                  <a:pt x="45244" y="273844"/>
                </a:cubicBezTo>
                <a:cubicBezTo>
                  <a:pt x="45244" y="399860"/>
                  <a:pt x="147828" y="502444"/>
                  <a:pt x="273844" y="502444"/>
                </a:cubicBezTo>
                <a:cubicBezTo>
                  <a:pt x="399859" y="502444"/>
                  <a:pt x="502444" y="399860"/>
                  <a:pt x="502444" y="273844"/>
                </a:cubicBezTo>
                <a:close/>
              </a:path>
            </a:pathLst>
          </a:custGeom>
          <a:solidFill>
            <a:schemeClr val="accent4"/>
          </a:solidFill>
          <a:ln w="9525" cap="flat">
            <a:noFill/>
            <a:prstDash val="solid"/>
            <a:miter/>
          </a:ln>
        </p:spPr>
        <p:txBody>
          <a:bodyPr rtlCol="0" anchor="ctr"/>
          <a:lstStyle/>
          <a:p>
            <a:pPr defTabSz="342900">
              <a:defRPr/>
            </a:pPr>
            <a:endParaRPr lang="en-US" sz="1350">
              <a:solidFill>
                <a:prstClr val="black"/>
              </a:solidFill>
              <a:latin typeface="Arial" panose="020B0604020202020204"/>
            </a:endParaRPr>
          </a:p>
        </p:txBody>
      </p:sp>
      <p:sp>
        <p:nvSpPr>
          <p:cNvPr id="18" name="TextBox 17">
            <a:extLst>
              <a:ext uri="{FF2B5EF4-FFF2-40B4-BE49-F238E27FC236}">
                <a16:creationId xmlns:a16="http://schemas.microsoft.com/office/drawing/2014/main" id="{66FE3D98-FF2F-5DC4-5B1B-9160F5BF872B}"/>
              </a:ext>
            </a:extLst>
          </p:cNvPr>
          <p:cNvSpPr txBox="1"/>
          <p:nvPr/>
        </p:nvSpPr>
        <p:spPr>
          <a:xfrm>
            <a:off x="4758723" y="2037342"/>
            <a:ext cx="2114138" cy="2418611"/>
          </a:xfrm>
          <a:prstGeom prst="rect">
            <a:avLst/>
          </a:prstGeom>
          <a:noFill/>
        </p:spPr>
        <p:txBody>
          <a:bodyPr wrap="square" lIns="0" rIns="0" rtlCol="0">
            <a:spAutoFit/>
          </a:bodyPr>
          <a:lstStyle/>
          <a:p>
            <a:pPr defTabSz="342900">
              <a:defRPr/>
            </a:pPr>
            <a:r>
              <a:rPr lang="en-US" sz="1050" b="1">
                <a:solidFill>
                  <a:srgbClr val="000000"/>
                </a:solidFill>
                <a:latin typeface="Arial" panose="020B0604020202020204"/>
              </a:rPr>
              <a:t>Data Architects</a:t>
            </a:r>
          </a:p>
          <a:p>
            <a:pPr marL="214313" indent="-214313" defTabSz="342900">
              <a:buFont typeface="Arial" panose="020B0604020202020204" pitchFamily="34" charset="0"/>
              <a:buChar char="•"/>
              <a:defRPr/>
            </a:pPr>
            <a:r>
              <a:rPr lang="en-US" sz="1050">
                <a:solidFill>
                  <a:srgbClr val="000000"/>
                </a:solidFill>
                <a:latin typeface="Arial" panose="020B0604020202020204"/>
              </a:rPr>
              <a:t>How do we strategize our data management deployment spanning cloud and on-premise systems?</a:t>
            </a:r>
          </a:p>
          <a:p>
            <a:pPr marL="214313" indent="-214313" defTabSz="342900">
              <a:buFont typeface="Arial" panose="020B0604020202020204" pitchFamily="34" charset="0"/>
              <a:buChar char="•"/>
              <a:defRPr/>
            </a:pPr>
            <a:r>
              <a:rPr lang="en-US" sz="1050">
                <a:solidFill>
                  <a:srgbClr val="000000"/>
                </a:solidFill>
                <a:latin typeface="Arial" panose="020B0604020202020204"/>
              </a:rPr>
              <a:t>How do we leverage MDM principles, data quality and metadata management to support D&amp;A governance?</a:t>
            </a:r>
          </a:p>
          <a:p>
            <a:pPr marL="214313" indent="-214313" defTabSz="342900">
              <a:buFont typeface="Arial" panose="020B0604020202020204" pitchFamily="34" charset="0"/>
              <a:buChar char="•"/>
              <a:defRPr/>
            </a:pPr>
            <a:r>
              <a:rPr lang="en-US" sz="1050">
                <a:solidFill>
                  <a:srgbClr val="000000"/>
                </a:solidFill>
                <a:latin typeface="Arial" panose="020B0604020202020204"/>
              </a:rPr>
              <a:t>How do we develop a scalable architecture and manage orchestration across our data pipelines?</a:t>
            </a:r>
            <a:endParaRPr lang="en-US" sz="1050">
              <a:solidFill>
                <a:prstClr val="black"/>
              </a:solidFill>
              <a:latin typeface="Arial" panose="020B0604020202020204"/>
            </a:endParaRPr>
          </a:p>
          <a:p>
            <a:pPr>
              <a:spcBef>
                <a:spcPts val="450"/>
              </a:spcBef>
            </a:pPr>
            <a:endParaRPr lang="en-US" sz="1050"/>
          </a:p>
        </p:txBody>
      </p:sp>
      <p:sp>
        <p:nvSpPr>
          <p:cNvPr id="19" name="TextBox 18">
            <a:extLst>
              <a:ext uri="{FF2B5EF4-FFF2-40B4-BE49-F238E27FC236}">
                <a16:creationId xmlns:a16="http://schemas.microsoft.com/office/drawing/2014/main" id="{4271F3F3-11ED-D067-BC2E-6623D429C3C1}"/>
              </a:ext>
            </a:extLst>
          </p:cNvPr>
          <p:cNvSpPr txBox="1"/>
          <p:nvPr/>
        </p:nvSpPr>
        <p:spPr>
          <a:xfrm>
            <a:off x="6969002" y="2037342"/>
            <a:ext cx="2087276" cy="2192908"/>
          </a:xfrm>
          <a:prstGeom prst="rect">
            <a:avLst/>
          </a:prstGeom>
          <a:noFill/>
        </p:spPr>
        <p:txBody>
          <a:bodyPr wrap="square">
            <a:spAutoFit/>
          </a:bodyPr>
          <a:lstStyle/>
          <a:p>
            <a:pPr defTabSz="342900">
              <a:defRPr/>
            </a:pPr>
            <a:r>
              <a:rPr lang="en-US" sz="1050" b="1">
                <a:solidFill>
                  <a:srgbClr val="000000"/>
                </a:solidFill>
                <a:latin typeface="Arial" panose="020B0604020202020204"/>
              </a:rPr>
              <a:t>Software Architects/Engineers</a:t>
            </a:r>
          </a:p>
          <a:p>
            <a:pPr marL="214313" indent="-214313" defTabSz="342900">
              <a:buFont typeface="Arial" panose="020B0604020202020204" pitchFamily="34" charset="0"/>
              <a:buChar char="•"/>
              <a:defRPr/>
            </a:pPr>
            <a:r>
              <a:rPr lang="en-US" sz="1050">
                <a:solidFill>
                  <a:srgbClr val="000000"/>
                </a:solidFill>
                <a:latin typeface="Arial" panose="020B0604020202020204"/>
              </a:rPr>
              <a:t>How can we apply agile practices to deliver better products faster?</a:t>
            </a:r>
          </a:p>
          <a:p>
            <a:pPr marL="214313" indent="-214313" defTabSz="342900">
              <a:buFont typeface="Arial" panose="020B0604020202020204" pitchFamily="34" charset="0"/>
              <a:buChar char="•"/>
              <a:defRPr/>
            </a:pPr>
            <a:r>
              <a:rPr lang="en-US" sz="1050">
                <a:solidFill>
                  <a:srgbClr val="000000"/>
                </a:solidFill>
                <a:latin typeface="Arial" panose="020B0604020202020204"/>
              </a:rPr>
              <a:t>How do we implement DevOps to improve product delivery and increase customer value?</a:t>
            </a:r>
          </a:p>
          <a:p>
            <a:pPr marL="214313" indent="-214313" defTabSz="342900">
              <a:buFont typeface="Arial" panose="020B0604020202020204" pitchFamily="34" charset="0"/>
              <a:buChar char="•"/>
              <a:defRPr/>
            </a:pPr>
            <a:r>
              <a:rPr lang="en-US" sz="1050">
                <a:solidFill>
                  <a:srgbClr val="000000"/>
                </a:solidFill>
                <a:latin typeface="Arial" panose="020B0604020202020204"/>
              </a:rPr>
              <a:t>Which languages, frameworks, tools and practices should we use to build great applications?</a:t>
            </a:r>
            <a:endParaRPr lang="en-US" sz="1050">
              <a:solidFill>
                <a:prstClr val="black"/>
              </a:solidFill>
              <a:latin typeface="Arial" panose="020B0604020202020204"/>
            </a:endParaRPr>
          </a:p>
        </p:txBody>
      </p:sp>
      <p:sp>
        <p:nvSpPr>
          <p:cNvPr id="20" name="TextBox 19">
            <a:extLst>
              <a:ext uri="{FF2B5EF4-FFF2-40B4-BE49-F238E27FC236}">
                <a16:creationId xmlns:a16="http://schemas.microsoft.com/office/drawing/2014/main" id="{3DB10A30-8409-61F8-6618-18A0436234CA}"/>
              </a:ext>
            </a:extLst>
          </p:cNvPr>
          <p:cNvSpPr txBox="1"/>
          <p:nvPr/>
        </p:nvSpPr>
        <p:spPr>
          <a:xfrm>
            <a:off x="2593811" y="2037342"/>
            <a:ext cx="1947672" cy="2192908"/>
          </a:xfrm>
          <a:prstGeom prst="rect">
            <a:avLst/>
          </a:prstGeom>
          <a:noFill/>
        </p:spPr>
        <p:txBody>
          <a:bodyPr wrap="square">
            <a:spAutoFit/>
          </a:bodyPr>
          <a:lstStyle/>
          <a:p>
            <a:pPr defTabSz="342900">
              <a:defRPr/>
            </a:pPr>
            <a:r>
              <a:rPr lang="en-US" sz="1050" b="1">
                <a:solidFill>
                  <a:srgbClr val="000000"/>
                </a:solidFill>
                <a:latin typeface="Arial" panose="020B0604020202020204"/>
              </a:rPr>
              <a:t>Security Architects</a:t>
            </a:r>
          </a:p>
          <a:p>
            <a:pPr marL="214313" indent="-214313" defTabSz="342900">
              <a:buFont typeface="Arial" panose="020B0604020202020204" pitchFamily="34" charset="0"/>
              <a:buChar char="•"/>
              <a:defRPr/>
            </a:pPr>
            <a:r>
              <a:rPr lang="en-US" sz="1050">
                <a:solidFill>
                  <a:srgbClr val="000000"/>
                </a:solidFill>
                <a:latin typeface="Arial" panose="020B0604020202020204"/>
              </a:rPr>
              <a:t>How can we use modern strategies and design patterns to enhance our overall security posture?</a:t>
            </a:r>
          </a:p>
          <a:p>
            <a:pPr marL="214313" indent="-214313" defTabSz="342900">
              <a:buFont typeface="Arial" panose="020B0604020202020204" pitchFamily="34" charset="0"/>
              <a:buChar char="•"/>
              <a:defRPr/>
            </a:pPr>
            <a:r>
              <a:rPr lang="en-US" sz="1050">
                <a:solidFill>
                  <a:srgbClr val="000000"/>
                </a:solidFill>
                <a:latin typeface="Arial" panose="020B0604020202020204"/>
              </a:rPr>
              <a:t>How do we protect our SaaS, IaaS and PaaS with native or third-party tools?</a:t>
            </a:r>
          </a:p>
          <a:p>
            <a:pPr marL="214313" indent="-214313" defTabSz="342900">
              <a:buFont typeface="Arial" panose="020B0604020202020204" pitchFamily="34" charset="0"/>
              <a:buChar char="•"/>
              <a:defRPr/>
            </a:pPr>
            <a:r>
              <a:rPr lang="en-US" sz="1050">
                <a:solidFill>
                  <a:srgbClr val="000000"/>
                </a:solidFill>
                <a:latin typeface="Arial" panose="020B0604020202020204"/>
              </a:rPr>
              <a:t>How do I manage privileged access to infrastructure, apps and services?</a:t>
            </a:r>
          </a:p>
        </p:txBody>
      </p:sp>
      <p:sp>
        <p:nvSpPr>
          <p:cNvPr id="21" name="TextBox 20">
            <a:extLst>
              <a:ext uri="{FF2B5EF4-FFF2-40B4-BE49-F238E27FC236}">
                <a16:creationId xmlns:a16="http://schemas.microsoft.com/office/drawing/2014/main" id="{C1D2D36A-C396-A48B-2789-22F8498BFD55}"/>
              </a:ext>
            </a:extLst>
          </p:cNvPr>
          <p:cNvSpPr txBox="1"/>
          <p:nvPr/>
        </p:nvSpPr>
        <p:spPr>
          <a:xfrm>
            <a:off x="447653" y="2029964"/>
            <a:ext cx="1947672" cy="2354491"/>
          </a:xfrm>
          <a:prstGeom prst="rect">
            <a:avLst/>
          </a:prstGeom>
          <a:noFill/>
        </p:spPr>
        <p:txBody>
          <a:bodyPr wrap="square">
            <a:spAutoFit/>
          </a:bodyPr>
          <a:lstStyle/>
          <a:p>
            <a:pPr defTabSz="342900">
              <a:defRPr/>
            </a:pPr>
            <a:r>
              <a:rPr lang="en-US" sz="1050" b="1">
                <a:solidFill>
                  <a:srgbClr val="000000"/>
                </a:solidFill>
                <a:latin typeface="Arial" panose="020B0604020202020204"/>
              </a:rPr>
              <a:t>Infrastructure Architects</a:t>
            </a:r>
          </a:p>
          <a:p>
            <a:pPr marL="128588" indent="-128588" defTabSz="342900">
              <a:buFont typeface="Arial" panose="020B0604020202020204" pitchFamily="34" charset="0"/>
              <a:buChar char="•"/>
              <a:defRPr/>
            </a:pPr>
            <a:r>
              <a:rPr lang="en-US" sz="1050">
                <a:solidFill>
                  <a:prstClr val="black"/>
                </a:solidFill>
                <a:latin typeface="Arial" panose="020B0604020202020204"/>
              </a:rPr>
              <a:t>How do I enable resilience, disaster recovery and data protection in my platforms and solutions?</a:t>
            </a:r>
          </a:p>
          <a:p>
            <a:pPr marL="128588" indent="-128588" defTabSz="342900">
              <a:buFont typeface="Arial" panose="020B0604020202020204" pitchFamily="34" charset="0"/>
              <a:buChar char="•"/>
              <a:defRPr/>
            </a:pPr>
            <a:r>
              <a:rPr lang="en-US" sz="1050">
                <a:solidFill>
                  <a:prstClr val="black"/>
                </a:solidFill>
                <a:latin typeface="Arial" panose="020B0604020202020204"/>
              </a:rPr>
              <a:t>How do I design, implement and/or optimize cloud-native infrastructure?</a:t>
            </a:r>
          </a:p>
          <a:p>
            <a:pPr marL="128588" indent="-128588" defTabSz="342900">
              <a:buFont typeface="Arial" panose="020B0604020202020204" pitchFamily="34" charset="0"/>
              <a:buChar char="•"/>
              <a:defRPr/>
            </a:pPr>
            <a:r>
              <a:rPr lang="en-US" sz="1050">
                <a:solidFill>
                  <a:prstClr val="black"/>
                </a:solidFill>
                <a:latin typeface="Arial" panose="020B0604020202020204"/>
              </a:rPr>
              <a:t>How do I design an automation strategy to support our organization’s DevOps initiatives?</a:t>
            </a:r>
          </a:p>
          <a:p>
            <a:pPr marL="128588" indent="-128588" defTabSz="342900">
              <a:buFont typeface="Arial" panose="020B0604020202020204" pitchFamily="34" charset="0"/>
              <a:buChar char="•"/>
              <a:defRPr/>
            </a:pPr>
            <a:endParaRPr lang="en-US" sz="1050">
              <a:solidFill>
                <a:prstClr val="black"/>
              </a:solidFill>
              <a:latin typeface="Arial" panose="020B0604020202020204"/>
            </a:endParaRPr>
          </a:p>
          <a:p>
            <a:pPr marL="128588" indent="-128588" defTabSz="342900">
              <a:buFont typeface="Arial" panose="020B0604020202020204" pitchFamily="34" charset="0"/>
              <a:buChar char="•"/>
              <a:defRPr/>
            </a:pPr>
            <a:endParaRPr lang="en-US" sz="1050">
              <a:solidFill>
                <a:prstClr val="black"/>
              </a:solidFill>
              <a:latin typeface="Arial" panose="020B0604020202020204"/>
            </a:endParaRPr>
          </a:p>
        </p:txBody>
      </p:sp>
      <p:cxnSp>
        <p:nvCxnSpPr>
          <p:cNvPr id="23" name="Straight Connector 22">
            <a:extLst>
              <a:ext uri="{FF2B5EF4-FFF2-40B4-BE49-F238E27FC236}">
                <a16:creationId xmlns:a16="http://schemas.microsoft.com/office/drawing/2014/main" id="{2B5C586A-8C44-2BE9-1125-C1A51F949915}"/>
              </a:ext>
            </a:extLst>
          </p:cNvPr>
          <p:cNvCxnSpPr>
            <a:cxnSpLocks/>
          </p:cNvCxnSpPr>
          <p:nvPr/>
        </p:nvCxnSpPr>
        <p:spPr>
          <a:xfrm>
            <a:off x="2475827" y="1982249"/>
            <a:ext cx="0" cy="2622505"/>
          </a:xfrm>
          <a:prstGeom prst="line">
            <a:avLst/>
          </a:prstGeom>
          <a:noFill/>
          <a:ln w="28575" cap="flat" cmpd="sng">
            <a:solidFill>
              <a:schemeClr val="bg1"/>
            </a:solidFill>
            <a:prstDash val="solid"/>
            <a:round/>
            <a:headEnd type="none" w="lg" len="med"/>
            <a:tailEnd type="none" w="lg" len="med"/>
          </a:ln>
        </p:spPr>
      </p:cxnSp>
      <p:cxnSp>
        <p:nvCxnSpPr>
          <p:cNvPr id="25" name="Straight Connector 24">
            <a:extLst>
              <a:ext uri="{FF2B5EF4-FFF2-40B4-BE49-F238E27FC236}">
                <a16:creationId xmlns:a16="http://schemas.microsoft.com/office/drawing/2014/main" id="{0FE4682E-2183-2038-5C77-9B47224C80E9}"/>
              </a:ext>
            </a:extLst>
          </p:cNvPr>
          <p:cNvCxnSpPr>
            <a:cxnSpLocks/>
          </p:cNvCxnSpPr>
          <p:nvPr/>
        </p:nvCxnSpPr>
        <p:spPr>
          <a:xfrm>
            <a:off x="4594279" y="1993763"/>
            <a:ext cx="0" cy="2610990"/>
          </a:xfrm>
          <a:prstGeom prst="line">
            <a:avLst/>
          </a:prstGeom>
          <a:noFill/>
          <a:ln w="28575" cap="flat" cmpd="sng">
            <a:solidFill>
              <a:schemeClr val="bg1"/>
            </a:solidFill>
            <a:prstDash val="solid"/>
            <a:round/>
            <a:headEnd type="none" w="lg" len="med"/>
            <a:tailEnd type="none" w="lg" len="med"/>
          </a:ln>
        </p:spPr>
      </p:cxnSp>
      <p:cxnSp>
        <p:nvCxnSpPr>
          <p:cNvPr id="26" name="Straight Connector 25">
            <a:extLst>
              <a:ext uri="{FF2B5EF4-FFF2-40B4-BE49-F238E27FC236}">
                <a16:creationId xmlns:a16="http://schemas.microsoft.com/office/drawing/2014/main" id="{563A7973-B7D9-D428-7DA5-0B98BF0CF27E}"/>
              </a:ext>
            </a:extLst>
          </p:cNvPr>
          <p:cNvCxnSpPr>
            <a:cxnSpLocks/>
          </p:cNvCxnSpPr>
          <p:nvPr/>
        </p:nvCxnSpPr>
        <p:spPr>
          <a:xfrm>
            <a:off x="6953363" y="1982248"/>
            <a:ext cx="0" cy="2622506"/>
          </a:xfrm>
          <a:prstGeom prst="line">
            <a:avLst/>
          </a:prstGeom>
          <a:noFill/>
          <a:ln w="28575" cap="flat" cmpd="sng">
            <a:solidFill>
              <a:schemeClr val="bg1"/>
            </a:solidFill>
            <a:prstDash val="solid"/>
            <a:round/>
            <a:headEnd type="none" w="lg" len="med"/>
            <a:tailEnd type="none" w="lg" len="med"/>
          </a:ln>
        </p:spPr>
      </p:cxnSp>
      <p:sp>
        <p:nvSpPr>
          <p:cNvPr id="3" name="TextBox 2">
            <a:extLst>
              <a:ext uri="{FF2B5EF4-FFF2-40B4-BE49-F238E27FC236}">
                <a16:creationId xmlns:a16="http://schemas.microsoft.com/office/drawing/2014/main" id="{0DFD479C-4529-34B2-F977-06F4C2AB778C}"/>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18422258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Pentagon 46"/>
          <p:cNvSpPr/>
          <p:nvPr/>
        </p:nvSpPr>
        <p:spPr bwMode="auto">
          <a:xfrm>
            <a:off x="936211" y="3945132"/>
            <a:ext cx="7977343" cy="226314"/>
          </a:xfrm>
          <a:prstGeom prst="homePlate">
            <a:avLst>
              <a:gd name="adj" fmla="val 35106"/>
            </a:avLst>
          </a:prstGeom>
          <a:noFill/>
          <a:ln w="158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defTabSz="685783" eaLnBrk="0" fontAlgn="base" hangingPunct="0">
              <a:lnSpc>
                <a:spcPct val="90000"/>
              </a:lnSpc>
              <a:spcBef>
                <a:spcPct val="30000"/>
              </a:spcBef>
              <a:spcAft>
                <a:spcPct val="10000"/>
              </a:spcAft>
              <a:defRPr/>
            </a:pPr>
            <a:endParaRPr lang="en-US" sz="1050" b="1">
              <a:solidFill>
                <a:srgbClr val="FFFFFF"/>
              </a:solidFill>
              <a:latin typeface="Arial" charset="0"/>
              <a:ea typeface="Arial Unicode MS" pitchFamily="34" charset="-128"/>
              <a:cs typeface="Arial Unicode MS" pitchFamily="34" charset="-128"/>
            </a:endParaRPr>
          </a:p>
        </p:txBody>
      </p:sp>
      <p:sp>
        <p:nvSpPr>
          <p:cNvPr id="48" name="Pentagon 47"/>
          <p:cNvSpPr/>
          <p:nvPr/>
        </p:nvSpPr>
        <p:spPr bwMode="auto">
          <a:xfrm>
            <a:off x="939621" y="4017428"/>
            <a:ext cx="7977343" cy="226314"/>
          </a:xfrm>
          <a:prstGeom prst="homePlate">
            <a:avLst>
              <a:gd name="adj" fmla="val 35106"/>
            </a:avLst>
          </a:prstGeom>
          <a:noFill/>
          <a:ln w="158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defTabSz="685783" eaLnBrk="0" fontAlgn="base" hangingPunct="0">
              <a:lnSpc>
                <a:spcPct val="90000"/>
              </a:lnSpc>
              <a:spcBef>
                <a:spcPct val="30000"/>
              </a:spcBef>
              <a:spcAft>
                <a:spcPct val="10000"/>
              </a:spcAft>
              <a:defRPr/>
            </a:pPr>
            <a:endParaRPr lang="en-US" sz="1050" b="1">
              <a:solidFill>
                <a:srgbClr val="FFFFFF"/>
              </a:solidFill>
              <a:latin typeface="Arial" charset="0"/>
              <a:ea typeface="Arial Unicode MS" pitchFamily="34" charset="-128"/>
              <a:cs typeface="Arial Unicode MS" pitchFamily="34" charset="-128"/>
            </a:endParaRPr>
          </a:p>
        </p:txBody>
      </p:sp>
      <p:graphicFrame>
        <p:nvGraphicFramePr>
          <p:cNvPr id="35" name="Object 34" hidden="1"/>
          <p:cNvGraphicFramePr>
            <a:graphicFrameLocks noChangeAspect="1"/>
          </p:cNvGraphicFramePr>
          <p:nvPr>
            <p:custDataLst>
              <p:tags r:id="rId1"/>
            </p:custDataLst>
          </p:nvPr>
        </p:nvGraphicFramePr>
        <p:xfrm>
          <a:off x="1" y="3"/>
          <a:ext cx="158750" cy="119063"/>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5" name="Object 3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5506" name="Rectangle 2"/>
          <p:cNvSpPr>
            <a:spLocks noGrp="1" noChangeArrowheads="1"/>
          </p:cNvSpPr>
          <p:nvPr>
            <p:ph type="title"/>
          </p:nvPr>
        </p:nvSpPr>
        <p:spPr>
          <a:xfrm>
            <a:off x="345592" y="141501"/>
            <a:ext cx="8741258" cy="334918"/>
          </a:xfrm>
        </p:spPr>
        <p:txBody>
          <a:bodyPr>
            <a:normAutofit fontScale="90000"/>
          </a:bodyPr>
          <a:lstStyle/>
          <a:p>
            <a:pPr>
              <a:lnSpc>
                <a:spcPct val="100000"/>
              </a:lnSpc>
            </a:pPr>
            <a:r>
              <a:rPr lang="en-US" sz="1875">
                <a:solidFill>
                  <a:schemeClr val="accent1"/>
                </a:solidFill>
              </a:rPr>
              <a:t>Your Technical Domain Architects have access to technical content to support each phases of your </a:t>
            </a:r>
            <a:r>
              <a:rPr lang="en-US" sz="1875"/>
              <a:t>initiative</a:t>
            </a:r>
          </a:p>
        </p:txBody>
      </p:sp>
      <p:sp>
        <p:nvSpPr>
          <p:cNvPr id="37" name="Rectangle 36"/>
          <p:cNvSpPr/>
          <p:nvPr/>
        </p:nvSpPr>
        <p:spPr>
          <a:xfrm>
            <a:off x="2403026" y="1299697"/>
            <a:ext cx="1988820" cy="1969546"/>
          </a:xfrm>
          <a:prstGeom prst="rect">
            <a:avLst/>
          </a:prstGeom>
          <a:noFill/>
        </p:spPr>
        <p:txBody>
          <a:bodyPr wrap="square" lIns="0" tIns="27432" rIns="68580" bIns="24098">
            <a:spAutoFit/>
          </a:bodyPr>
          <a:lstStyle/>
          <a:p>
            <a:pPr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charset="0"/>
                <a:ea typeface="Arial Unicode MS" pitchFamily="34" charset="-128"/>
                <a:cs typeface="Arial Unicode MS" pitchFamily="34" charset="-128"/>
              </a:rPr>
              <a:t>Single Assessments</a:t>
            </a:r>
            <a:br>
              <a:rPr lang="en-US" sz="1050">
                <a:solidFill>
                  <a:srgbClr val="002856"/>
                </a:solidFill>
                <a:latin typeface="Arial" charset="0"/>
                <a:ea typeface="Arial Unicode MS" pitchFamily="34" charset="-128"/>
                <a:cs typeface="Arial Unicode MS" pitchFamily="34" charset="-128"/>
              </a:rPr>
            </a:br>
            <a:r>
              <a:rPr lang="en-US" sz="1050">
                <a:solidFill>
                  <a:srgbClr val="000000"/>
                </a:solidFill>
                <a:latin typeface="Arial" charset="0"/>
                <a:ea typeface="Arial Unicode MS" pitchFamily="34" charset="-128"/>
                <a:cs typeface="Arial Unicode MS" pitchFamily="34" charset="-128"/>
              </a:rPr>
              <a:t>Discovery and assessment of a single technology or solution</a:t>
            </a:r>
          </a:p>
          <a:p>
            <a:pPr marL="0" lvl="1"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charset="0"/>
                <a:ea typeface="Arial Unicode MS" pitchFamily="34" charset="-128"/>
                <a:cs typeface="Arial Unicode MS" pitchFamily="34" charset="-128"/>
              </a:rPr>
              <a:t>Comparison Assessments </a:t>
            </a:r>
            <a:br>
              <a:rPr lang="en-US" sz="1050" b="1">
                <a:solidFill>
                  <a:srgbClr val="002856"/>
                </a:solidFill>
                <a:latin typeface="Arial" charset="0"/>
                <a:ea typeface="Arial Unicode MS" pitchFamily="34" charset="-128"/>
                <a:cs typeface="Arial Unicode MS" pitchFamily="34" charset="-128"/>
              </a:rPr>
            </a:br>
            <a:r>
              <a:rPr lang="en-US" sz="1050">
                <a:solidFill>
                  <a:srgbClr val="000000"/>
                </a:solidFill>
                <a:latin typeface="Arial" charset="0"/>
                <a:ea typeface="Arial Unicode MS" pitchFamily="34" charset="-128"/>
                <a:cs typeface="Arial Unicode MS" pitchFamily="34" charset="-128"/>
              </a:rPr>
              <a:t>Provides analysis and comparison of multiple technologies or solutions</a:t>
            </a:r>
          </a:p>
          <a:p>
            <a:pPr marL="0" lvl="1"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charset="0"/>
                <a:ea typeface="Arial Unicode MS" pitchFamily="34" charset="-128"/>
                <a:cs typeface="Arial Unicode MS" pitchFamily="34" charset="-128"/>
              </a:rPr>
              <a:t>Essential Skills </a:t>
            </a:r>
            <a:br>
              <a:rPr lang="en-US" sz="1050">
                <a:solidFill>
                  <a:srgbClr val="FF0000"/>
                </a:solidFill>
                <a:latin typeface="Arial" charset="0"/>
                <a:ea typeface="Arial Unicode MS" pitchFamily="34" charset="-128"/>
                <a:cs typeface="Arial Unicode MS" pitchFamily="34" charset="-128"/>
              </a:rPr>
            </a:br>
            <a:r>
              <a:rPr lang="en-US" sz="1050">
                <a:solidFill>
                  <a:prstClr val="black"/>
                </a:solidFill>
                <a:latin typeface="Arial"/>
              </a:rPr>
              <a:t>Manage and cultivate existing and required skills</a:t>
            </a:r>
            <a:endParaRPr lang="en-US" sz="1050">
              <a:solidFill>
                <a:prstClr val="black"/>
              </a:solidFill>
              <a:latin typeface="Arial" charset="0"/>
              <a:ea typeface="Arial Unicode MS" pitchFamily="34" charset="-128"/>
              <a:cs typeface="Arial Unicode MS" pitchFamily="34" charset="-128"/>
            </a:endParaRPr>
          </a:p>
        </p:txBody>
      </p:sp>
      <p:sp>
        <p:nvSpPr>
          <p:cNvPr id="38" name="Rectangle 37"/>
          <p:cNvSpPr/>
          <p:nvPr/>
        </p:nvSpPr>
        <p:spPr>
          <a:xfrm>
            <a:off x="4570201" y="1299697"/>
            <a:ext cx="1988820" cy="2579713"/>
          </a:xfrm>
          <a:prstGeom prst="rect">
            <a:avLst/>
          </a:prstGeom>
          <a:noFill/>
        </p:spPr>
        <p:txBody>
          <a:bodyPr wrap="square" lIns="0" tIns="27432" rIns="68580" bIns="24098" anchor="t">
            <a:spAutoFit/>
          </a:bodyPr>
          <a:lstStyle/>
          <a:p>
            <a:pPr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a:ea typeface="Arial Unicode MS"/>
                <a:cs typeface="Arial Unicode MS"/>
              </a:rPr>
              <a:t>Decision Points</a:t>
            </a:r>
            <a:r>
              <a:rPr lang="en-US" sz="1050">
                <a:solidFill>
                  <a:srgbClr val="002856"/>
                </a:solidFill>
                <a:latin typeface="Arial"/>
                <a:ea typeface="Arial Unicode MS"/>
                <a:cs typeface="Arial Unicode MS"/>
              </a:rPr>
              <a:t> </a:t>
            </a:r>
            <a:br>
              <a:rPr lang="en-US" sz="1050">
                <a:solidFill>
                  <a:prstClr val="black"/>
                </a:solidFill>
                <a:latin typeface="Arial" charset="0"/>
                <a:ea typeface="Arial Unicode MS" pitchFamily="34" charset="-128"/>
                <a:cs typeface="Arial Unicode MS" pitchFamily="34" charset="-128"/>
              </a:rPr>
            </a:br>
            <a:r>
              <a:rPr lang="en-US" sz="1050">
                <a:solidFill>
                  <a:srgbClr val="000000"/>
                </a:solidFill>
                <a:latin typeface="Arial"/>
                <a:ea typeface="Arial Unicode MS"/>
                <a:cs typeface="Arial Unicode MS"/>
              </a:rPr>
              <a:t>Choose technical architecture based on unique customer requirements</a:t>
            </a:r>
          </a:p>
          <a:p>
            <a:pPr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a:ea typeface="Arial Unicode MS"/>
                <a:cs typeface="Arial Unicode MS"/>
              </a:rPr>
              <a:t>Guidance Frameworks </a:t>
            </a:r>
            <a:br>
              <a:rPr lang="en-US" sz="1050" b="1">
                <a:solidFill>
                  <a:prstClr val="black"/>
                </a:solidFill>
                <a:latin typeface="Arial" charset="0"/>
                <a:ea typeface="Arial Unicode MS" pitchFamily="34" charset="-128"/>
                <a:cs typeface="Arial Unicode MS" pitchFamily="34" charset="-128"/>
              </a:rPr>
            </a:br>
            <a:r>
              <a:rPr lang="en-US" sz="1050">
                <a:solidFill>
                  <a:srgbClr val="000000"/>
                </a:solidFill>
                <a:latin typeface="Arial"/>
                <a:ea typeface="Arial Unicode MS"/>
                <a:cs typeface="Arial Unicode MS"/>
              </a:rPr>
              <a:t>Step-by-step guidance to tackle a specific challenge, architecture or implementation</a:t>
            </a:r>
          </a:p>
          <a:p>
            <a:pPr defTabSz="684869">
              <a:lnSpc>
                <a:spcPct val="110000"/>
              </a:lnSpc>
              <a:spcBef>
                <a:spcPts val="316"/>
              </a:spcBef>
              <a:spcAft>
                <a:spcPts val="316"/>
              </a:spcAft>
              <a:defRPr/>
            </a:pPr>
            <a:r>
              <a:rPr lang="en-US" sz="1050" b="1">
                <a:solidFill>
                  <a:srgbClr val="002856"/>
                </a:solidFill>
                <a:latin typeface="Arial"/>
                <a:ea typeface="Arial Unicode MS"/>
                <a:cs typeface="Arial Unicode MS"/>
              </a:rPr>
              <a:t>Reference Architecture</a:t>
            </a:r>
            <a:br>
              <a:rPr lang="en-US" sz="1050" b="1">
                <a:solidFill>
                  <a:srgbClr val="002856"/>
                </a:solidFill>
                <a:latin typeface="Arial"/>
                <a:ea typeface="Arial Unicode MS"/>
                <a:cs typeface="Arial Unicode MS"/>
              </a:rPr>
            </a:br>
            <a:r>
              <a:rPr lang="en-US" sz="1050">
                <a:solidFill>
                  <a:srgbClr val="000000"/>
                </a:solidFill>
                <a:latin typeface="Arial"/>
                <a:ea typeface="Arial Unicode MS"/>
                <a:cs typeface="Arial"/>
              </a:rPr>
              <a:t>Reference architectures across multiple use cases and capabilities</a:t>
            </a:r>
          </a:p>
          <a:p>
            <a:pPr defTabSz="684869">
              <a:lnSpc>
                <a:spcPct val="110000"/>
              </a:lnSpc>
              <a:spcBef>
                <a:spcPts val="316"/>
              </a:spcBef>
              <a:spcAft>
                <a:spcPts val="316"/>
              </a:spcAft>
              <a:defRPr/>
            </a:pPr>
            <a:endParaRPr lang="en-US" sz="1050">
              <a:solidFill>
                <a:srgbClr val="000000"/>
              </a:solidFill>
              <a:latin typeface="Arial" charset="0"/>
              <a:ea typeface="Arial Unicode MS" pitchFamily="34" charset="-128"/>
              <a:cs typeface="Arial Unicode MS" pitchFamily="34" charset="-128"/>
            </a:endParaRPr>
          </a:p>
        </p:txBody>
      </p:sp>
      <p:sp>
        <p:nvSpPr>
          <p:cNvPr id="39" name="Rectangle 38"/>
          <p:cNvSpPr/>
          <p:nvPr/>
        </p:nvSpPr>
        <p:spPr>
          <a:xfrm>
            <a:off x="6666980" y="1299697"/>
            <a:ext cx="1988820" cy="1256274"/>
          </a:xfrm>
          <a:prstGeom prst="rect">
            <a:avLst/>
          </a:prstGeom>
          <a:noFill/>
        </p:spPr>
        <p:txBody>
          <a:bodyPr wrap="square" lIns="0" tIns="27432" rIns="68580" bIns="24098" anchor="t">
            <a:spAutoFit/>
          </a:bodyPr>
          <a:lstStyle/>
          <a:p>
            <a:pPr defTabSz="684869">
              <a:defRPr/>
            </a:pPr>
            <a:r>
              <a:rPr lang="en-US" sz="1050" b="1">
                <a:solidFill>
                  <a:srgbClr val="002856"/>
                </a:solidFill>
                <a:latin typeface="Arial" panose="020B0604020202020204"/>
                <a:ea typeface="Arial Unicode MS"/>
                <a:cs typeface="Arial"/>
              </a:rPr>
              <a:t>Solution Criteria </a:t>
            </a:r>
            <a:br>
              <a:rPr lang="en-US" sz="1050" b="1">
                <a:solidFill>
                  <a:srgbClr val="002856"/>
                </a:solidFill>
                <a:latin typeface="Arial" panose="020B0604020202020204"/>
                <a:ea typeface="Arial Unicode MS"/>
                <a:cs typeface="Arial"/>
              </a:rPr>
            </a:br>
            <a:r>
              <a:rPr lang="en-US" sz="1050">
                <a:solidFill>
                  <a:srgbClr val="000000"/>
                </a:solidFill>
                <a:latin typeface="Arial"/>
                <a:ea typeface="Arial Unicode MS"/>
                <a:cs typeface="Arial Unicode MS"/>
              </a:rPr>
              <a:t>Prioritized criteria's and  requirements and RFP templates</a:t>
            </a:r>
          </a:p>
          <a:p>
            <a:pPr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a:ea typeface="Arial Unicode MS"/>
                <a:cs typeface="Arial Unicode MS"/>
              </a:rPr>
              <a:t>Solution Comparisons </a:t>
            </a:r>
            <a:br>
              <a:rPr lang="en-US" sz="1050" b="1">
                <a:solidFill>
                  <a:prstClr val="black"/>
                </a:solidFill>
                <a:latin typeface="Arial" charset="0"/>
                <a:ea typeface="Arial Unicode MS" pitchFamily="34" charset="-128"/>
                <a:cs typeface="Arial Unicode MS" pitchFamily="34" charset="-128"/>
              </a:rPr>
            </a:br>
            <a:r>
              <a:rPr lang="en-US" sz="1050">
                <a:solidFill>
                  <a:srgbClr val="000000"/>
                </a:solidFill>
                <a:latin typeface="Arial"/>
                <a:ea typeface="Arial Unicode MS"/>
                <a:cs typeface="Arial Unicode MS"/>
              </a:rPr>
              <a:t>Side-by-side product/service comparison</a:t>
            </a:r>
          </a:p>
        </p:txBody>
      </p:sp>
      <p:sp>
        <p:nvSpPr>
          <p:cNvPr id="17" name="Rectangle 16"/>
          <p:cNvSpPr/>
          <p:nvPr/>
        </p:nvSpPr>
        <p:spPr>
          <a:xfrm>
            <a:off x="377941" y="1048142"/>
            <a:ext cx="2022593" cy="258532"/>
          </a:xfrm>
          <a:prstGeom prst="rect">
            <a:avLst/>
          </a:prstGeom>
        </p:spPr>
        <p:txBody>
          <a:bodyPr wrap="square">
            <a:spAutoFit/>
          </a:bodyPr>
          <a:lstStyle/>
          <a:p>
            <a:pPr algn="ctr" defTabSz="685783" eaLnBrk="0" fontAlgn="base" hangingPunct="0">
              <a:lnSpc>
                <a:spcPct val="90000"/>
              </a:lnSpc>
              <a:spcBef>
                <a:spcPct val="30000"/>
              </a:spcBef>
              <a:spcAft>
                <a:spcPct val="10000"/>
              </a:spcAft>
              <a:defRPr/>
            </a:pPr>
            <a:r>
              <a:rPr lang="en-US" sz="1200" b="1" kern="0">
                <a:solidFill>
                  <a:srgbClr val="FFFFFF"/>
                </a:solidFill>
                <a:latin typeface="Arial" charset="0"/>
                <a:ea typeface="Arial Unicode MS" pitchFamily="34" charset="-128"/>
                <a:cs typeface="Arial Unicode MS" pitchFamily="34" charset="-128"/>
              </a:rPr>
              <a:t>Plan</a:t>
            </a:r>
            <a:endParaRPr lang="en-US" sz="1200" b="1">
              <a:solidFill>
                <a:srgbClr val="FFFFFF"/>
              </a:solidFill>
              <a:latin typeface="Arial" charset="0"/>
              <a:ea typeface="Arial Unicode MS" pitchFamily="34" charset="-128"/>
              <a:cs typeface="Arial Unicode MS" pitchFamily="34" charset="-128"/>
            </a:endParaRPr>
          </a:p>
        </p:txBody>
      </p:sp>
      <p:sp>
        <p:nvSpPr>
          <p:cNvPr id="18" name="Rectangle 17"/>
          <p:cNvSpPr/>
          <p:nvPr/>
        </p:nvSpPr>
        <p:spPr>
          <a:xfrm>
            <a:off x="4675331" y="1048142"/>
            <a:ext cx="2026353" cy="258532"/>
          </a:xfrm>
          <a:prstGeom prst="rect">
            <a:avLst/>
          </a:prstGeom>
        </p:spPr>
        <p:txBody>
          <a:bodyPr wrap="square">
            <a:spAutoFit/>
          </a:bodyPr>
          <a:lstStyle/>
          <a:p>
            <a:pPr algn="ctr" defTabSz="685783" eaLnBrk="0" fontAlgn="base" hangingPunct="0">
              <a:lnSpc>
                <a:spcPct val="90000"/>
              </a:lnSpc>
              <a:spcBef>
                <a:spcPct val="30000"/>
              </a:spcBef>
              <a:spcAft>
                <a:spcPct val="10000"/>
              </a:spcAft>
              <a:defRPr/>
            </a:pPr>
            <a:r>
              <a:rPr lang="en-US" sz="1200" b="1" kern="0">
                <a:solidFill>
                  <a:srgbClr val="FFFFFF"/>
                </a:solidFill>
                <a:latin typeface="Arial" charset="0"/>
                <a:ea typeface="Arial Unicode MS" pitchFamily="34" charset="-128"/>
                <a:cs typeface="Arial Unicode MS" pitchFamily="34" charset="-128"/>
              </a:rPr>
              <a:t>Design</a:t>
            </a:r>
            <a:endParaRPr lang="en-US" sz="1200" b="1">
              <a:solidFill>
                <a:srgbClr val="FFFFFF"/>
              </a:solidFill>
              <a:latin typeface="Arial" charset="0"/>
              <a:ea typeface="Arial Unicode MS" pitchFamily="34" charset="-128"/>
              <a:cs typeface="Arial Unicode MS" pitchFamily="34" charset="-128"/>
            </a:endParaRPr>
          </a:p>
        </p:txBody>
      </p:sp>
      <p:sp>
        <p:nvSpPr>
          <p:cNvPr id="19" name="Rectangle 18"/>
          <p:cNvSpPr/>
          <p:nvPr/>
        </p:nvSpPr>
        <p:spPr>
          <a:xfrm>
            <a:off x="2523027" y="1048142"/>
            <a:ext cx="2022593" cy="258532"/>
          </a:xfrm>
          <a:prstGeom prst="rect">
            <a:avLst/>
          </a:prstGeom>
        </p:spPr>
        <p:txBody>
          <a:bodyPr wrap="square">
            <a:spAutoFit/>
          </a:bodyPr>
          <a:lstStyle/>
          <a:p>
            <a:pPr algn="ctr" defTabSz="685783" eaLnBrk="0" fontAlgn="base" hangingPunct="0">
              <a:lnSpc>
                <a:spcPct val="90000"/>
              </a:lnSpc>
              <a:spcBef>
                <a:spcPct val="30000"/>
              </a:spcBef>
              <a:spcAft>
                <a:spcPct val="10000"/>
              </a:spcAft>
              <a:defRPr/>
            </a:pPr>
            <a:r>
              <a:rPr lang="en-US" sz="1200" b="1" kern="0">
                <a:solidFill>
                  <a:srgbClr val="FFFFFF"/>
                </a:solidFill>
                <a:latin typeface="Arial" charset="0"/>
                <a:ea typeface="Arial Unicode MS" pitchFamily="34" charset="-128"/>
                <a:cs typeface="Arial Unicode MS" pitchFamily="34" charset="-128"/>
              </a:rPr>
              <a:t>Assess</a:t>
            </a:r>
            <a:endParaRPr lang="en-US" sz="1200" b="1">
              <a:solidFill>
                <a:srgbClr val="FFFFFF"/>
              </a:solidFill>
              <a:latin typeface="Arial" charset="0"/>
              <a:ea typeface="Arial Unicode MS" pitchFamily="34" charset="-128"/>
              <a:cs typeface="Arial Unicode MS" pitchFamily="34" charset="-128"/>
            </a:endParaRPr>
          </a:p>
        </p:txBody>
      </p:sp>
      <p:sp>
        <p:nvSpPr>
          <p:cNvPr id="22" name="Rectangle 21"/>
          <p:cNvSpPr/>
          <p:nvPr/>
        </p:nvSpPr>
        <p:spPr>
          <a:xfrm>
            <a:off x="384581" y="1299696"/>
            <a:ext cx="1910486" cy="3012139"/>
          </a:xfrm>
          <a:prstGeom prst="rect">
            <a:avLst/>
          </a:prstGeom>
          <a:noFill/>
        </p:spPr>
        <p:txBody>
          <a:bodyPr wrap="square" lIns="0" tIns="27432" rIns="68580" bIns="24098" anchor="t">
            <a:spAutoFit/>
          </a:bodyPr>
          <a:lstStyle/>
          <a:p>
            <a:pPr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a:ea typeface="Arial Unicode MS"/>
                <a:cs typeface="Arial Unicode MS"/>
              </a:rPr>
              <a:t>Planning Guides</a:t>
            </a:r>
            <a:r>
              <a:rPr lang="en-US" sz="1050">
                <a:solidFill>
                  <a:srgbClr val="002856"/>
                </a:solidFill>
                <a:latin typeface="Arial"/>
                <a:ea typeface="Arial Unicode MS"/>
                <a:cs typeface="Arial Unicode MS"/>
              </a:rPr>
              <a:t> </a:t>
            </a:r>
            <a:br>
              <a:rPr lang="en-US" sz="1050">
                <a:solidFill>
                  <a:prstClr val="black"/>
                </a:solidFill>
                <a:latin typeface="Arial" charset="0"/>
                <a:ea typeface="Arial Unicode MS" pitchFamily="34" charset="-128"/>
                <a:cs typeface="Arial Unicode MS" pitchFamily="34" charset="-128"/>
              </a:rPr>
            </a:br>
            <a:r>
              <a:rPr lang="en-US" sz="1050">
                <a:solidFill>
                  <a:srgbClr val="000000"/>
                </a:solidFill>
                <a:latin typeface="Arial"/>
                <a:ea typeface="Arial Unicode MS"/>
                <a:cs typeface="Arial Unicode MS"/>
              </a:rPr>
              <a:t>Annual technical trends and planning considerations</a:t>
            </a:r>
          </a:p>
          <a:p>
            <a:pPr marL="0" lvl="1"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a:ea typeface="Arial Unicode MS"/>
                <a:cs typeface="Arial Unicode MS"/>
              </a:rPr>
              <a:t>Solution Paths </a:t>
            </a:r>
            <a:br>
              <a:rPr lang="en-US" sz="1050" b="1">
                <a:solidFill>
                  <a:prstClr val="black"/>
                </a:solidFill>
                <a:latin typeface="Arial" charset="0"/>
                <a:ea typeface="Arial Unicode MS" pitchFamily="34" charset="-128"/>
                <a:cs typeface="Arial Unicode MS" pitchFamily="34" charset="-128"/>
              </a:rPr>
            </a:br>
            <a:r>
              <a:rPr lang="en-US" sz="1050">
                <a:solidFill>
                  <a:srgbClr val="000000"/>
                </a:solidFill>
                <a:latin typeface="Arial"/>
                <a:ea typeface="Arial Unicode MS"/>
                <a:cs typeface="Arial Unicode MS"/>
              </a:rPr>
              <a:t>Roadmap to implement a </a:t>
            </a:r>
            <a:br>
              <a:rPr lang="en-US" sz="1050">
                <a:solidFill>
                  <a:prstClr val="black"/>
                </a:solidFill>
                <a:latin typeface="Arial" charset="0"/>
                <a:ea typeface="Arial Unicode MS" pitchFamily="34" charset="-128"/>
                <a:cs typeface="Arial Unicode MS" pitchFamily="34" charset="-128"/>
              </a:rPr>
            </a:br>
            <a:r>
              <a:rPr lang="en-US" sz="1050">
                <a:solidFill>
                  <a:srgbClr val="000000"/>
                </a:solidFill>
                <a:latin typeface="Arial"/>
                <a:ea typeface="Arial Unicode MS"/>
                <a:cs typeface="Arial Unicode MS"/>
              </a:rPr>
              <a:t>new solution</a:t>
            </a:r>
          </a:p>
          <a:p>
            <a:pPr marL="0" lvl="1" defTabSz="684869" eaLnBrk="0" fontAlgn="base" hangingPunct="0">
              <a:lnSpc>
                <a:spcPct val="110000"/>
              </a:lnSpc>
              <a:spcBef>
                <a:spcPts val="316"/>
              </a:spcBef>
              <a:spcAft>
                <a:spcPts val="316"/>
              </a:spcAft>
              <a:buClr>
                <a:srgbClr val="00529B"/>
              </a:buClr>
              <a:defRPr/>
            </a:pPr>
            <a:r>
              <a:rPr lang="en-US" sz="1050" b="1">
                <a:solidFill>
                  <a:srgbClr val="002856"/>
                </a:solidFill>
                <a:latin typeface="Arial"/>
                <a:ea typeface="Arial Unicode MS"/>
                <a:cs typeface="Arial Unicode MS"/>
              </a:rPr>
              <a:t>Initiative Analysis </a:t>
            </a:r>
            <a:br>
              <a:rPr lang="en-US" sz="1050" b="1">
                <a:solidFill>
                  <a:prstClr val="black"/>
                </a:solidFill>
                <a:latin typeface="Arial" charset="0"/>
                <a:ea typeface="Arial Unicode MS" pitchFamily="34" charset="-128"/>
                <a:cs typeface="Arial Unicode MS" pitchFamily="34" charset="-128"/>
              </a:rPr>
            </a:br>
            <a:r>
              <a:rPr lang="en-US" sz="1050">
                <a:solidFill>
                  <a:srgbClr val="000000"/>
                </a:solidFill>
                <a:latin typeface="Arial"/>
                <a:ea typeface="Arial Unicode MS"/>
                <a:cs typeface="Arial Unicode MS"/>
              </a:rPr>
              <a:t>Analyzing the business case, impact and plan for an initiative</a:t>
            </a:r>
            <a:endParaRPr lang="en-US" sz="1350">
              <a:solidFill>
                <a:srgbClr val="000000"/>
              </a:solidFill>
              <a:latin typeface="Arial"/>
              <a:ea typeface="Arial Unicode MS"/>
              <a:cs typeface="Arial"/>
            </a:endParaRPr>
          </a:p>
          <a:p>
            <a:pPr marL="0" lvl="1" defTabSz="684869">
              <a:lnSpc>
                <a:spcPct val="110000"/>
              </a:lnSpc>
              <a:spcBef>
                <a:spcPts val="316"/>
              </a:spcBef>
              <a:spcAft>
                <a:spcPts val="316"/>
              </a:spcAft>
              <a:defRPr/>
            </a:pPr>
            <a:r>
              <a:rPr lang="en-US" sz="1050" b="1">
                <a:solidFill>
                  <a:srgbClr val="002856"/>
                </a:solidFill>
                <a:latin typeface="Arial"/>
                <a:ea typeface="Arial Unicode MS"/>
                <a:cs typeface="Arial"/>
              </a:rPr>
              <a:t>Video Content</a:t>
            </a:r>
            <a:br>
              <a:rPr lang="en-US" sz="1050" b="1">
                <a:solidFill>
                  <a:prstClr val="black"/>
                </a:solidFill>
                <a:latin typeface="Arial" charset="0"/>
                <a:ea typeface="Arial Unicode MS" pitchFamily="34" charset="-128"/>
                <a:cs typeface="Arial"/>
              </a:rPr>
            </a:br>
            <a:r>
              <a:rPr lang="en-US" sz="1050">
                <a:solidFill>
                  <a:prstClr val="black"/>
                </a:solidFill>
                <a:latin typeface="Arial"/>
                <a:ea typeface="Arial Unicode MS"/>
                <a:cs typeface="Arial"/>
              </a:rPr>
              <a:t>Q</a:t>
            </a:r>
            <a:r>
              <a:rPr lang="en-US" sz="1050" err="1">
                <a:solidFill>
                  <a:prstClr val="black"/>
                </a:solidFill>
                <a:latin typeface="Arial"/>
                <a:ea typeface="Arial Unicode MS"/>
                <a:cs typeface="Arial"/>
              </a:rPr>
              <a:t>uick</a:t>
            </a:r>
            <a:r>
              <a:rPr lang="en-US" sz="1050">
                <a:solidFill>
                  <a:prstClr val="black"/>
                </a:solidFill>
                <a:latin typeface="Arial"/>
                <a:ea typeface="Arial Unicode MS"/>
                <a:cs typeface="Arial"/>
              </a:rPr>
              <a:t> introductory notes on addressing key customer questions.</a:t>
            </a:r>
            <a:endParaRPr lang="en-US" sz="1350">
              <a:solidFill>
                <a:prstClr val="black"/>
              </a:solidFill>
              <a:latin typeface="Arial"/>
              <a:ea typeface="Arial Unicode MS"/>
              <a:cs typeface="Arial"/>
            </a:endParaRPr>
          </a:p>
          <a:p>
            <a:pPr marL="0" lvl="1" defTabSz="684869">
              <a:lnSpc>
                <a:spcPct val="110000"/>
              </a:lnSpc>
              <a:spcBef>
                <a:spcPts val="316"/>
              </a:spcBef>
              <a:spcAft>
                <a:spcPts val="316"/>
              </a:spcAft>
              <a:defRPr/>
            </a:pPr>
            <a:endParaRPr lang="en-US" sz="1050">
              <a:solidFill>
                <a:srgbClr val="000000"/>
              </a:solidFill>
              <a:latin typeface="Arial" charset="0"/>
              <a:ea typeface="Arial Unicode MS" pitchFamily="34" charset="-128"/>
              <a:cs typeface="Arial Unicode MS" pitchFamily="34" charset="-128"/>
            </a:endParaRPr>
          </a:p>
        </p:txBody>
      </p:sp>
      <p:sp>
        <p:nvSpPr>
          <p:cNvPr id="21" name="Pentagon 20"/>
          <p:cNvSpPr/>
          <p:nvPr/>
        </p:nvSpPr>
        <p:spPr bwMode="auto">
          <a:xfrm>
            <a:off x="345592" y="730460"/>
            <a:ext cx="2056022" cy="267626"/>
          </a:xfrm>
          <a:prstGeom prst="homePlate">
            <a:avLst>
              <a:gd name="adj" fmla="val 35106"/>
            </a:avLst>
          </a:prstGeom>
          <a:solidFill>
            <a:srgbClr val="002856"/>
          </a:solidFill>
          <a:ln w="1587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685783" eaLnBrk="0" fontAlgn="base" hangingPunct="0">
              <a:lnSpc>
                <a:spcPct val="90000"/>
              </a:lnSpc>
              <a:spcBef>
                <a:spcPct val="30000"/>
              </a:spcBef>
              <a:spcAft>
                <a:spcPct val="10000"/>
              </a:spcAft>
              <a:defRPr/>
            </a:pPr>
            <a:r>
              <a:rPr lang="en-US" sz="1050" b="1">
                <a:solidFill>
                  <a:srgbClr val="FFFFFF"/>
                </a:solidFill>
                <a:latin typeface="Arial" charset="0"/>
                <a:ea typeface="Arial Unicode MS" pitchFamily="34" charset="-128"/>
                <a:cs typeface="Arial Unicode MS" pitchFamily="34" charset="-128"/>
              </a:rPr>
              <a:t>Plan</a:t>
            </a:r>
          </a:p>
        </p:txBody>
      </p:sp>
      <p:sp>
        <p:nvSpPr>
          <p:cNvPr id="23" name="Chevron 22"/>
          <p:cNvSpPr/>
          <p:nvPr/>
        </p:nvSpPr>
        <p:spPr bwMode="auto">
          <a:xfrm>
            <a:off x="2273723" y="730461"/>
            <a:ext cx="2324711" cy="267627"/>
          </a:xfrm>
          <a:prstGeom prst="chevron">
            <a:avLst>
              <a:gd name="adj" fmla="val 35106"/>
            </a:avLst>
          </a:prstGeom>
          <a:solidFill>
            <a:srgbClr val="002856"/>
          </a:solidFill>
          <a:ln w="1587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685783" eaLnBrk="0" fontAlgn="base" hangingPunct="0">
              <a:lnSpc>
                <a:spcPct val="90000"/>
              </a:lnSpc>
              <a:spcBef>
                <a:spcPct val="30000"/>
              </a:spcBef>
              <a:spcAft>
                <a:spcPct val="10000"/>
              </a:spcAft>
              <a:defRPr/>
            </a:pPr>
            <a:r>
              <a:rPr lang="en-US" sz="1050" b="1">
                <a:solidFill>
                  <a:srgbClr val="FFFFFF"/>
                </a:solidFill>
                <a:latin typeface="Arial" charset="0"/>
                <a:ea typeface="Arial Unicode MS" pitchFamily="34" charset="-128"/>
                <a:cs typeface="Arial Unicode MS" pitchFamily="34" charset="-128"/>
              </a:rPr>
              <a:t>Assess</a:t>
            </a:r>
          </a:p>
        </p:txBody>
      </p:sp>
      <p:sp>
        <p:nvSpPr>
          <p:cNvPr id="24" name="Chevron 23"/>
          <p:cNvSpPr/>
          <p:nvPr/>
        </p:nvSpPr>
        <p:spPr bwMode="auto">
          <a:xfrm>
            <a:off x="6534777" y="729289"/>
            <a:ext cx="2196856" cy="270455"/>
          </a:xfrm>
          <a:prstGeom prst="chevron">
            <a:avLst>
              <a:gd name="adj" fmla="val 35106"/>
            </a:avLst>
          </a:prstGeom>
          <a:solidFill>
            <a:srgbClr val="002856"/>
          </a:solidFill>
          <a:ln w="1587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defTabSz="685783" eaLnBrk="0" fontAlgn="base" hangingPunct="0">
              <a:spcBef>
                <a:spcPct val="50000"/>
              </a:spcBef>
              <a:spcAft>
                <a:spcPct val="0"/>
              </a:spcAft>
              <a:defRPr/>
            </a:pPr>
            <a:r>
              <a:rPr lang="en-US" sz="1050" b="1" kern="100" spc="-40">
                <a:solidFill>
                  <a:srgbClr val="FFFFFF"/>
                </a:solidFill>
                <a:latin typeface="Arial" charset="0"/>
                <a:ea typeface="Arial Unicode MS" pitchFamily="34" charset="-128"/>
                <a:cs typeface="Arial Unicode MS" pitchFamily="34" charset="-128"/>
              </a:rPr>
              <a:t>Select</a:t>
            </a:r>
            <a:endParaRPr lang="en-US" sz="1050" b="1" kern="100" spc="-50">
              <a:solidFill>
                <a:srgbClr val="FFFFFF"/>
              </a:solidFill>
              <a:latin typeface="Arial" charset="0"/>
              <a:ea typeface="Arial Unicode MS" pitchFamily="34" charset="-128"/>
              <a:cs typeface="Arial Unicode MS" pitchFamily="34" charset="-128"/>
            </a:endParaRPr>
          </a:p>
        </p:txBody>
      </p:sp>
      <p:sp>
        <p:nvSpPr>
          <p:cNvPr id="25" name="Chevron 24"/>
          <p:cNvSpPr/>
          <p:nvPr/>
        </p:nvSpPr>
        <p:spPr bwMode="auto">
          <a:xfrm>
            <a:off x="4472736" y="730418"/>
            <a:ext cx="2196856" cy="267729"/>
          </a:xfrm>
          <a:prstGeom prst="chevron">
            <a:avLst>
              <a:gd name="adj" fmla="val 35106"/>
            </a:avLst>
          </a:prstGeom>
          <a:solidFill>
            <a:srgbClr val="002856"/>
          </a:solidFill>
          <a:ln w="15875" cap="flat" cmpd="sng" algn="ctr">
            <a:solidFill>
              <a:schemeClr val="bg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noAutofit/>
          </a:bodyPr>
          <a:lstStyle/>
          <a:p>
            <a:pPr marL="45717" algn="ctr" defTabSz="685783" eaLnBrk="0" fontAlgn="base" hangingPunct="0">
              <a:lnSpc>
                <a:spcPct val="90000"/>
              </a:lnSpc>
              <a:spcBef>
                <a:spcPct val="30000"/>
              </a:spcBef>
              <a:spcAft>
                <a:spcPct val="10000"/>
              </a:spcAft>
              <a:defRPr/>
            </a:pPr>
            <a:r>
              <a:rPr lang="en-US" sz="1050" b="1" kern="100" spc="-40">
                <a:solidFill>
                  <a:srgbClr val="FFFFFF"/>
                </a:solidFill>
                <a:latin typeface="Arial" charset="0"/>
                <a:ea typeface="Arial Unicode MS" pitchFamily="34" charset="-128"/>
                <a:cs typeface="Arial Unicode MS" pitchFamily="34" charset="-128"/>
              </a:rPr>
              <a:t>Design</a:t>
            </a:r>
            <a:endParaRPr lang="en-US" sz="1050" b="1" kern="100" spc="-50">
              <a:solidFill>
                <a:srgbClr val="FFFFFF"/>
              </a:solidFill>
              <a:latin typeface="Arial" charset="0"/>
              <a:ea typeface="Arial Unicode MS" pitchFamily="34" charset="-128"/>
              <a:cs typeface="Arial Unicode MS" pitchFamily="34" charset="-128"/>
            </a:endParaRPr>
          </a:p>
        </p:txBody>
      </p:sp>
      <p:sp>
        <p:nvSpPr>
          <p:cNvPr id="26" name="TextBox 25"/>
          <p:cNvSpPr txBox="1"/>
          <p:nvPr/>
        </p:nvSpPr>
        <p:spPr>
          <a:xfrm>
            <a:off x="354208" y="1013331"/>
            <a:ext cx="8386040" cy="237757"/>
          </a:xfrm>
          <a:prstGeom prst="rect">
            <a:avLst/>
          </a:prstGeom>
          <a:solidFill>
            <a:srgbClr val="009AD7"/>
          </a:solidFill>
        </p:spPr>
        <p:txBody>
          <a:bodyPr wrap="square" rtlCol="0" anchor="ctr" anchorCtr="0">
            <a:spAutoFit/>
          </a:bodyPr>
          <a:lstStyle/>
          <a:p>
            <a:pPr defTabSz="685783" eaLnBrk="0" fontAlgn="base" hangingPunct="0">
              <a:lnSpc>
                <a:spcPct val="90000"/>
              </a:lnSpc>
              <a:spcBef>
                <a:spcPct val="30000"/>
              </a:spcBef>
              <a:spcAft>
                <a:spcPct val="10000"/>
              </a:spcAft>
              <a:defRPr/>
            </a:pPr>
            <a:r>
              <a:rPr lang="en-US" sz="1050" b="1">
                <a:solidFill>
                  <a:srgbClr val="FFFFFF"/>
                </a:solidFill>
                <a:latin typeface="Arial" charset="0"/>
                <a:ea typeface="Arial Unicode MS" pitchFamily="34" charset="-128"/>
                <a:cs typeface="Arial Unicode MS" pitchFamily="34" charset="-128"/>
              </a:rPr>
              <a:t>Research Content Types</a:t>
            </a:r>
          </a:p>
        </p:txBody>
      </p:sp>
      <p:sp>
        <p:nvSpPr>
          <p:cNvPr id="27" name="TextBox 26"/>
          <p:cNvSpPr txBox="1"/>
          <p:nvPr/>
        </p:nvSpPr>
        <p:spPr>
          <a:xfrm>
            <a:off x="350918" y="3866817"/>
            <a:ext cx="8380715" cy="237757"/>
          </a:xfrm>
          <a:prstGeom prst="rect">
            <a:avLst/>
          </a:prstGeom>
          <a:solidFill>
            <a:srgbClr val="009AD7"/>
          </a:solidFill>
        </p:spPr>
        <p:txBody>
          <a:bodyPr wrap="square" rtlCol="0" anchor="ctr" anchorCtr="0">
            <a:spAutoFit/>
          </a:bodyPr>
          <a:lstStyle/>
          <a:p>
            <a:pPr defTabSz="685783" eaLnBrk="0" fontAlgn="base" hangingPunct="0">
              <a:lnSpc>
                <a:spcPct val="90000"/>
              </a:lnSpc>
              <a:spcBef>
                <a:spcPct val="30000"/>
              </a:spcBef>
              <a:spcAft>
                <a:spcPct val="10000"/>
              </a:spcAft>
              <a:defRPr/>
            </a:pPr>
            <a:r>
              <a:rPr lang="en-US" sz="1050" b="1">
                <a:solidFill>
                  <a:srgbClr val="FFFFFF"/>
                </a:solidFill>
                <a:latin typeface="Arial" charset="0"/>
                <a:ea typeface="Arial Unicode MS" pitchFamily="34" charset="-128"/>
                <a:cs typeface="Arial Unicode MS" pitchFamily="34" charset="-128"/>
              </a:rPr>
              <a:t>Additional Resources</a:t>
            </a:r>
          </a:p>
        </p:txBody>
      </p:sp>
      <p:sp>
        <p:nvSpPr>
          <p:cNvPr id="34" name="TextBox 33"/>
          <p:cNvSpPr txBox="1">
            <a:spLocks noChangeArrowheads="1"/>
          </p:cNvSpPr>
          <p:nvPr/>
        </p:nvSpPr>
        <p:spPr bwMode="auto">
          <a:xfrm>
            <a:off x="877946" y="4177701"/>
            <a:ext cx="7925265" cy="145424"/>
          </a:xfrm>
          <a:prstGeom prst="rect">
            <a:avLst/>
          </a:prstGeom>
          <a:noFill/>
          <a:ln w="9525">
            <a:noFill/>
            <a:miter lim="800000"/>
            <a:headEnd/>
            <a:tailEnd/>
          </a:ln>
        </p:spPr>
        <p:txBody>
          <a:bodyPr wrap="square" lIns="0" tIns="0" rIns="0" bIns="0">
            <a:prstTxWarp prst="textNoShape">
              <a:avLst/>
            </a:prstTxWarp>
            <a:spAutoFit/>
          </a:bodyPr>
          <a:lstStyle/>
          <a:p>
            <a:pPr defTabSz="685783" eaLnBrk="0" fontAlgn="base" hangingPunct="0">
              <a:lnSpc>
                <a:spcPct val="90000"/>
              </a:lnSpc>
              <a:spcBef>
                <a:spcPct val="30000"/>
              </a:spcBef>
              <a:spcAft>
                <a:spcPct val="10000"/>
              </a:spcAft>
              <a:defRPr/>
            </a:pPr>
            <a:r>
              <a:rPr lang="en-US" sz="1050" b="1">
                <a:solidFill>
                  <a:srgbClr val="009AD7"/>
                </a:solidFill>
                <a:latin typeface="Arial" charset="0"/>
                <a:ea typeface="Arial Unicode MS" pitchFamily="34" charset="-128"/>
                <a:cs typeface="Arial Unicode MS" pitchFamily="34" charset="-128"/>
              </a:rPr>
              <a:t>Talk to an Expert: </a:t>
            </a:r>
            <a:r>
              <a:rPr lang="en-US" sz="1050">
                <a:solidFill>
                  <a:srgbClr val="000000"/>
                </a:solidFill>
                <a:latin typeface="Arial" charset="0"/>
                <a:ea typeface="Arial Unicode MS" pitchFamily="34" charset="-128"/>
                <a:cs typeface="Arial Unicode MS" pitchFamily="34" charset="-128"/>
              </a:rPr>
              <a:t>Speak with an expert analyst to develop strategy, review architecture, and/or design implementation plans. </a:t>
            </a:r>
          </a:p>
        </p:txBody>
      </p:sp>
      <p:sp>
        <p:nvSpPr>
          <p:cNvPr id="36" name="TextBox 35"/>
          <p:cNvSpPr txBox="1">
            <a:spLocks noChangeArrowheads="1"/>
          </p:cNvSpPr>
          <p:nvPr/>
        </p:nvSpPr>
        <p:spPr bwMode="auto">
          <a:xfrm>
            <a:off x="877946" y="4393192"/>
            <a:ext cx="7925265" cy="145424"/>
          </a:xfrm>
          <a:prstGeom prst="rect">
            <a:avLst/>
          </a:prstGeom>
          <a:noFill/>
          <a:ln w="9525">
            <a:noFill/>
            <a:miter lim="800000"/>
            <a:headEnd/>
            <a:tailEnd/>
          </a:ln>
        </p:spPr>
        <p:txBody>
          <a:bodyPr wrap="square" lIns="0" tIns="0" rIns="0" bIns="0">
            <a:prstTxWarp prst="textNoShape">
              <a:avLst/>
            </a:prstTxWarp>
            <a:spAutoFit/>
          </a:bodyPr>
          <a:lstStyle/>
          <a:p>
            <a:pPr defTabSz="685783" eaLnBrk="0" fontAlgn="base" hangingPunct="0">
              <a:lnSpc>
                <a:spcPct val="90000"/>
              </a:lnSpc>
              <a:spcBef>
                <a:spcPct val="30000"/>
              </a:spcBef>
              <a:spcAft>
                <a:spcPct val="10000"/>
              </a:spcAft>
              <a:defRPr/>
            </a:pPr>
            <a:r>
              <a:rPr lang="en-US" sz="1050" b="1">
                <a:solidFill>
                  <a:srgbClr val="009AD7"/>
                </a:solidFill>
                <a:latin typeface="Arial" charset="0"/>
                <a:ea typeface="Arial Unicode MS" pitchFamily="34" charset="-128"/>
                <a:cs typeface="Arial Unicode MS" pitchFamily="34" charset="-128"/>
              </a:rPr>
              <a:t>Network With Peers: </a:t>
            </a:r>
            <a:r>
              <a:rPr lang="en-US" sz="1050">
                <a:solidFill>
                  <a:srgbClr val="000000"/>
                </a:solidFill>
                <a:latin typeface="Arial" charset="0"/>
                <a:ea typeface="Arial Unicode MS" pitchFamily="34" charset="-128"/>
                <a:cs typeface="Arial Unicode MS" pitchFamily="34" charset="-128"/>
              </a:rPr>
              <a:t>Understand how peers are leveraging new technologies and read peer reviews of vendors and products.</a:t>
            </a:r>
          </a:p>
        </p:txBody>
      </p:sp>
      <p:sp>
        <p:nvSpPr>
          <p:cNvPr id="40" name="TextBox 47"/>
          <p:cNvSpPr txBox="1">
            <a:spLocks noChangeArrowheads="1"/>
          </p:cNvSpPr>
          <p:nvPr/>
        </p:nvSpPr>
        <p:spPr bwMode="auto">
          <a:xfrm>
            <a:off x="877946" y="4577124"/>
            <a:ext cx="8016403" cy="145424"/>
          </a:xfrm>
          <a:prstGeom prst="rect">
            <a:avLst/>
          </a:prstGeom>
          <a:noFill/>
          <a:ln w="9525">
            <a:noFill/>
            <a:miter lim="800000"/>
            <a:headEnd/>
            <a:tailEnd/>
          </a:ln>
        </p:spPr>
        <p:txBody>
          <a:bodyPr wrap="square" lIns="0" tIns="0" rIns="0" bIns="0" anchor="t">
            <a:prstTxWarp prst="textNoShape">
              <a:avLst/>
            </a:prstTxWarp>
            <a:spAutoFit/>
          </a:bodyPr>
          <a:lstStyle/>
          <a:p>
            <a:pPr defTabSz="685783" eaLnBrk="0" fontAlgn="base" hangingPunct="0">
              <a:lnSpc>
                <a:spcPct val="90000"/>
              </a:lnSpc>
              <a:spcBef>
                <a:spcPct val="30000"/>
              </a:spcBef>
              <a:spcAft>
                <a:spcPct val="10000"/>
              </a:spcAft>
              <a:defRPr/>
            </a:pPr>
            <a:r>
              <a:rPr lang="en-US" sz="1050" b="1">
                <a:solidFill>
                  <a:srgbClr val="009AD7"/>
                </a:solidFill>
                <a:latin typeface="Arial"/>
                <a:ea typeface="Arial Unicode MS"/>
                <a:cs typeface="Arial Unicode MS"/>
              </a:rPr>
              <a:t>Attend Conferences: </a:t>
            </a:r>
            <a:r>
              <a:rPr lang="en-US" sz="1050">
                <a:solidFill>
                  <a:srgbClr val="000000"/>
                </a:solidFill>
                <a:latin typeface="Arial"/>
                <a:ea typeface="Arial Unicode MS"/>
                <a:cs typeface="Arial Unicode MS"/>
              </a:rPr>
              <a:t>Summits, and Symposium</a:t>
            </a:r>
          </a:p>
        </p:txBody>
      </p:sp>
      <p:sp>
        <p:nvSpPr>
          <p:cNvPr id="4" name="Freeform: Shape 218">
            <a:extLst>
              <a:ext uri="{FF2B5EF4-FFF2-40B4-BE49-F238E27FC236}">
                <a16:creationId xmlns:a16="http://schemas.microsoft.com/office/drawing/2014/main" id="{5930636E-7243-31A0-D094-4365462DC0EE}"/>
              </a:ext>
            </a:extLst>
          </p:cNvPr>
          <p:cNvSpPr/>
          <p:nvPr/>
        </p:nvSpPr>
        <p:spPr>
          <a:xfrm>
            <a:off x="384582" y="4217252"/>
            <a:ext cx="421481" cy="392906"/>
          </a:xfrm>
          <a:custGeom>
            <a:avLst/>
            <a:gdLst>
              <a:gd name="connsiteX0" fmla="*/ 111824 w 561975"/>
              <a:gd name="connsiteY0" fmla="*/ 381953 h 523875"/>
              <a:gd name="connsiteX1" fmla="*/ 159639 w 561975"/>
              <a:gd name="connsiteY1" fmla="*/ 428911 h 523875"/>
              <a:gd name="connsiteX2" fmla="*/ 182975 w 561975"/>
              <a:gd name="connsiteY2" fmla="*/ 405098 h 523875"/>
              <a:gd name="connsiteX3" fmla="*/ 95060 w 561975"/>
              <a:gd name="connsiteY3" fmla="*/ 318897 h 523875"/>
              <a:gd name="connsiteX4" fmla="*/ 7144 w 561975"/>
              <a:gd name="connsiteY4" fmla="*/ 405098 h 523875"/>
              <a:gd name="connsiteX5" fmla="*/ 30480 w 561975"/>
              <a:gd name="connsiteY5" fmla="*/ 428911 h 523875"/>
              <a:gd name="connsiteX6" fmla="*/ 78296 w 561975"/>
              <a:gd name="connsiteY6" fmla="*/ 381953 h 523875"/>
              <a:gd name="connsiteX7" fmla="*/ 78296 w 561975"/>
              <a:gd name="connsiteY7" fmla="*/ 516636 h 523875"/>
              <a:gd name="connsiteX8" fmla="*/ 266415 w 561975"/>
              <a:gd name="connsiteY8" fmla="*/ 516636 h 523875"/>
              <a:gd name="connsiteX9" fmla="*/ 266415 w 561975"/>
              <a:gd name="connsiteY9" fmla="*/ 483299 h 523875"/>
              <a:gd name="connsiteX10" fmla="*/ 111633 w 561975"/>
              <a:gd name="connsiteY10" fmla="*/ 483299 h 523875"/>
              <a:gd name="connsiteX11" fmla="*/ 111633 w 561975"/>
              <a:gd name="connsiteY11" fmla="*/ 381953 h 523875"/>
              <a:gd name="connsiteX12" fmla="*/ 95155 w 561975"/>
              <a:gd name="connsiteY12" fmla="*/ 365665 h 523875"/>
              <a:gd name="connsiteX13" fmla="*/ 96203 w 561975"/>
              <a:gd name="connsiteY13" fmla="*/ 366713 h 523875"/>
              <a:gd name="connsiteX14" fmla="*/ 94107 w 561975"/>
              <a:gd name="connsiteY14" fmla="*/ 366713 h 523875"/>
              <a:gd name="connsiteX15" fmla="*/ 95155 w 561975"/>
              <a:gd name="connsiteY15" fmla="*/ 365665 h 523875"/>
              <a:gd name="connsiteX16" fmla="*/ 73724 w 561975"/>
              <a:gd name="connsiteY16" fmla="*/ 194786 h 523875"/>
              <a:gd name="connsiteX17" fmla="*/ 230886 w 561975"/>
              <a:gd name="connsiteY17" fmla="*/ 194786 h 523875"/>
              <a:gd name="connsiteX18" fmla="*/ 230886 w 561975"/>
              <a:gd name="connsiteY18" fmla="*/ 281940 h 523875"/>
              <a:gd name="connsiteX19" fmla="*/ 264224 w 561975"/>
              <a:gd name="connsiteY19" fmla="*/ 281940 h 523875"/>
              <a:gd name="connsiteX20" fmla="*/ 264224 w 561975"/>
              <a:gd name="connsiteY20" fmla="*/ 161449 h 523875"/>
              <a:gd name="connsiteX21" fmla="*/ 208502 w 561975"/>
              <a:gd name="connsiteY21" fmla="*/ 161449 h 523875"/>
              <a:gd name="connsiteX22" fmla="*/ 239745 w 561975"/>
              <a:gd name="connsiteY22" fmla="*/ 94583 h 523875"/>
              <a:gd name="connsiteX23" fmla="*/ 152305 w 561975"/>
              <a:gd name="connsiteY23" fmla="*/ 7144 h 523875"/>
              <a:gd name="connsiteX24" fmla="*/ 64865 w 561975"/>
              <a:gd name="connsiteY24" fmla="*/ 94583 h 523875"/>
              <a:gd name="connsiteX25" fmla="*/ 96108 w 561975"/>
              <a:gd name="connsiteY25" fmla="*/ 161449 h 523875"/>
              <a:gd name="connsiteX26" fmla="*/ 40386 w 561975"/>
              <a:gd name="connsiteY26" fmla="*/ 161449 h 523875"/>
              <a:gd name="connsiteX27" fmla="*/ 40386 w 561975"/>
              <a:gd name="connsiteY27" fmla="*/ 281940 h 523875"/>
              <a:gd name="connsiteX28" fmla="*/ 73724 w 561975"/>
              <a:gd name="connsiteY28" fmla="*/ 281940 h 523875"/>
              <a:gd name="connsiteX29" fmla="*/ 73724 w 561975"/>
              <a:gd name="connsiteY29" fmla="*/ 194786 h 523875"/>
              <a:gd name="connsiteX30" fmla="*/ 152305 w 561975"/>
              <a:gd name="connsiteY30" fmla="*/ 40481 h 523875"/>
              <a:gd name="connsiteX31" fmla="*/ 206407 w 561975"/>
              <a:gd name="connsiteY31" fmla="*/ 94583 h 523875"/>
              <a:gd name="connsiteX32" fmla="*/ 152305 w 561975"/>
              <a:gd name="connsiteY32" fmla="*/ 148685 h 523875"/>
              <a:gd name="connsiteX33" fmla="*/ 98203 w 561975"/>
              <a:gd name="connsiteY33" fmla="*/ 94583 h 523875"/>
              <a:gd name="connsiteX34" fmla="*/ 152305 w 561975"/>
              <a:gd name="connsiteY34" fmla="*/ 40481 h 523875"/>
              <a:gd name="connsiteX35" fmla="*/ 506445 w 561975"/>
              <a:gd name="connsiteY35" fmla="*/ 331756 h 523875"/>
              <a:gd name="connsiteX36" fmla="*/ 419005 w 561975"/>
              <a:gd name="connsiteY36" fmla="*/ 244316 h 523875"/>
              <a:gd name="connsiteX37" fmla="*/ 331565 w 561975"/>
              <a:gd name="connsiteY37" fmla="*/ 331756 h 523875"/>
              <a:gd name="connsiteX38" fmla="*/ 362808 w 561975"/>
              <a:gd name="connsiteY38" fmla="*/ 398621 h 523875"/>
              <a:gd name="connsiteX39" fmla="*/ 307087 w 561975"/>
              <a:gd name="connsiteY39" fmla="*/ 398621 h 523875"/>
              <a:gd name="connsiteX40" fmla="*/ 307087 w 561975"/>
              <a:gd name="connsiteY40" fmla="*/ 519113 h 523875"/>
              <a:gd name="connsiteX41" fmla="*/ 340424 w 561975"/>
              <a:gd name="connsiteY41" fmla="*/ 519113 h 523875"/>
              <a:gd name="connsiteX42" fmla="*/ 340424 w 561975"/>
              <a:gd name="connsiteY42" fmla="*/ 431959 h 523875"/>
              <a:gd name="connsiteX43" fmla="*/ 497587 w 561975"/>
              <a:gd name="connsiteY43" fmla="*/ 431959 h 523875"/>
              <a:gd name="connsiteX44" fmla="*/ 497587 w 561975"/>
              <a:gd name="connsiteY44" fmla="*/ 519113 h 523875"/>
              <a:gd name="connsiteX45" fmla="*/ 530924 w 561975"/>
              <a:gd name="connsiteY45" fmla="*/ 519113 h 523875"/>
              <a:gd name="connsiteX46" fmla="*/ 530924 w 561975"/>
              <a:gd name="connsiteY46" fmla="*/ 398621 h 523875"/>
              <a:gd name="connsiteX47" fmla="*/ 475202 w 561975"/>
              <a:gd name="connsiteY47" fmla="*/ 398621 h 523875"/>
              <a:gd name="connsiteX48" fmla="*/ 506445 w 561975"/>
              <a:gd name="connsiteY48" fmla="*/ 331756 h 523875"/>
              <a:gd name="connsiteX49" fmla="*/ 419005 w 561975"/>
              <a:gd name="connsiteY49" fmla="*/ 277654 h 523875"/>
              <a:gd name="connsiteX50" fmla="*/ 473107 w 561975"/>
              <a:gd name="connsiteY50" fmla="*/ 331756 h 523875"/>
              <a:gd name="connsiteX51" fmla="*/ 419005 w 561975"/>
              <a:gd name="connsiteY51" fmla="*/ 385858 h 523875"/>
              <a:gd name="connsiteX52" fmla="*/ 364903 w 561975"/>
              <a:gd name="connsiteY52" fmla="*/ 331756 h 523875"/>
              <a:gd name="connsiteX53" fmla="*/ 419005 w 561975"/>
              <a:gd name="connsiteY53" fmla="*/ 277654 h 523875"/>
              <a:gd name="connsiteX54" fmla="*/ 459487 w 561975"/>
              <a:gd name="connsiteY54" fmla="*/ 151352 h 523875"/>
              <a:gd name="connsiteX55" fmla="*/ 411671 w 561975"/>
              <a:gd name="connsiteY55" fmla="*/ 104394 h 523875"/>
              <a:gd name="connsiteX56" fmla="*/ 388334 w 561975"/>
              <a:gd name="connsiteY56" fmla="*/ 128207 h 523875"/>
              <a:gd name="connsiteX57" fmla="*/ 476250 w 561975"/>
              <a:gd name="connsiteY57" fmla="*/ 214408 h 523875"/>
              <a:gd name="connsiteX58" fmla="*/ 564166 w 561975"/>
              <a:gd name="connsiteY58" fmla="*/ 128207 h 523875"/>
              <a:gd name="connsiteX59" fmla="*/ 540830 w 561975"/>
              <a:gd name="connsiteY59" fmla="*/ 104394 h 523875"/>
              <a:gd name="connsiteX60" fmla="*/ 493014 w 561975"/>
              <a:gd name="connsiteY60" fmla="*/ 151352 h 523875"/>
              <a:gd name="connsiteX61" fmla="*/ 493014 w 561975"/>
              <a:gd name="connsiteY61" fmla="*/ 7144 h 523875"/>
              <a:gd name="connsiteX62" fmla="*/ 304895 w 561975"/>
              <a:gd name="connsiteY62" fmla="*/ 7144 h 523875"/>
              <a:gd name="connsiteX63" fmla="*/ 304895 w 561975"/>
              <a:gd name="connsiteY63" fmla="*/ 40481 h 523875"/>
              <a:gd name="connsiteX64" fmla="*/ 459677 w 561975"/>
              <a:gd name="connsiteY64" fmla="*/ 40481 h 523875"/>
              <a:gd name="connsiteX65" fmla="*/ 459677 w 561975"/>
              <a:gd name="connsiteY65" fmla="*/ 151352 h 523875"/>
              <a:gd name="connsiteX66" fmla="*/ 476155 w 561975"/>
              <a:gd name="connsiteY66" fmla="*/ 167735 h 523875"/>
              <a:gd name="connsiteX67" fmla="*/ 475107 w 561975"/>
              <a:gd name="connsiteY67" fmla="*/ 166688 h 523875"/>
              <a:gd name="connsiteX68" fmla="*/ 477203 w 561975"/>
              <a:gd name="connsiteY68" fmla="*/ 166688 h 523875"/>
              <a:gd name="connsiteX69" fmla="*/ 476155 w 561975"/>
              <a:gd name="connsiteY69" fmla="*/ 167735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1975" h="523875">
                <a:moveTo>
                  <a:pt x="111824" y="381953"/>
                </a:moveTo>
                <a:lnTo>
                  <a:pt x="159639" y="428911"/>
                </a:lnTo>
                <a:lnTo>
                  <a:pt x="182975" y="405098"/>
                </a:lnTo>
                <a:lnTo>
                  <a:pt x="95060" y="318897"/>
                </a:lnTo>
                <a:lnTo>
                  <a:pt x="7144" y="405098"/>
                </a:lnTo>
                <a:lnTo>
                  <a:pt x="30480" y="428911"/>
                </a:lnTo>
                <a:lnTo>
                  <a:pt x="78296" y="381953"/>
                </a:lnTo>
                <a:lnTo>
                  <a:pt x="78296" y="516636"/>
                </a:lnTo>
                <a:lnTo>
                  <a:pt x="266415" y="516636"/>
                </a:lnTo>
                <a:lnTo>
                  <a:pt x="266415" y="483299"/>
                </a:lnTo>
                <a:lnTo>
                  <a:pt x="111633" y="483299"/>
                </a:lnTo>
                <a:lnTo>
                  <a:pt x="111633" y="381953"/>
                </a:lnTo>
                <a:close/>
                <a:moveTo>
                  <a:pt x="95155" y="365665"/>
                </a:moveTo>
                <a:lnTo>
                  <a:pt x="96203" y="366713"/>
                </a:lnTo>
                <a:lnTo>
                  <a:pt x="94107" y="366713"/>
                </a:lnTo>
                <a:lnTo>
                  <a:pt x="95155" y="365665"/>
                </a:lnTo>
                <a:close/>
                <a:moveTo>
                  <a:pt x="73724" y="194786"/>
                </a:moveTo>
                <a:lnTo>
                  <a:pt x="230886" y="194786"/>
                </a:lnTo>
                <a:lnTo>
                  <a:pt x="230886" y="281940"/>
                </a:lnTo>
                <a:lnTo>
                  <a:pt x="264224" y="281940"/>
                </a:lnTo>
                <a:lnTo>
                  <a:pt x="264224" y="161449"/>
                </a:lnTo>
                <a:lnTo>
                  <a:pt x="208502" y="161449"/>
                </a:lnTo>
                <a:cubicBezTo>
                  <a:pt x="227552" y="145447"/>
                  <a:pt x="239745" y="121349"/>
                  <a:pt x="239745" y="94583"/>
                </a:cubicBezTo>
                <a:cubicBezTo>
                  <a:pt x="239745" y="46387"/>
                  <a:pt x="200502" y="7144"/>
                  <a:pt x="152305" y="7144"/>
                </a:cubicBezTo>
                <a:cubicBezTo>
                  <a:pt x="104108" y="7144"/>
                  <a:pt x="64865" y="46387"/>
                  <a:pt x="64865" y="94583"/>
                </a:cubicBezTo>
                <a:cubicBezTo>
                  <a:pt x="64865" y="121444"/>
                  <a:pt x="77058" y="145447"/>
                  <a:pt x="96108" y="161449"/>
                </a:cubicBezTo>
                <a:lnTo>
                  <a:pt x="40386" y="161449"/>
                </a:lnTo>
                <a:lnTo>
                  <a:pt x="40386" y="281940"/>
                </a:lnTo>
                <a:lnTo>
                  <a:pt x="73724" y="281940"/>
                </a:lnTo>
                <a:lnTo>
                  <a:pt x="73724" y="194786"/>
                </a:lnTo>
                <a:close/>
                <a:moveTo>
                  <a:pt x="152305" y="40481"/>
                </a:moveTo>
                <a:cubicBezTo>
                  <a:pt x="182118" y="40481"/>
                  <a:pt x="206407" y="64770"/>
                  <a:pt x="206407" y="94583"/>
                </a:cubicBezTo>
                <a:cubicBezTo>
                  <a:pt x="206407" y="124397"/>
                  <a:pt x="182118" y="148685"/>
                  <a:pt x="152305" y="148685"/>
                </a:cubicBezTo>
                <a:cubicBezTo>
                  <a:pt x="122492" y="148685"/>
                  <a:pt x="98203" y="124397"/>
                  <a:pt x="98203" y="94583"/>
                </a:cubicBezTo>
                <a:cubicBezTo>
                  <a:pt x="98203" y="64770"/>
                  <a:pt x="122492" y="40481"/>
                  <a:pt x="152305" y="40481"/>
                </a:cubicBezTo>
                <a:close/>
                <a:moveTo>
                  <a:pt x="506445" y="331756"/>
                </a:moveTo>
                <a:cubicBezTo>
                  <a:pt x="506445" y="283559"/>
                  <a:pt x="467202" y="244316"/>
                  <a:pt x="419005" y="244316"/>
                </a:cubicBezTo>
                <a:cubicBezTo>
                  <a:pt x="370808" y="244316"/>
                  <a:pt x="331565" y="283559"/>
                  <a:pt x="331565" y="331756"/>
                </a:cubicBezTo>
                <a:cubicBezTo>
                  <a:pt x="331565" y="358616"/>
                  <a:pt x="343758" y="382619"/>
                  <a:pt x="362808" y="398621"/>
                </a:cubicBezTo>
                <a:lnTo>
                  <a:pt x="307087" y="398621"/>
                </a:lnTo>
                <a:lnTo>
                  <a:pt x="307087" y="519113"/>
                </a:lnTo>
                <a:lnTo>
                  <a:pt x="340424" y="519113"/>
                </a:lnTo>
                <a:lnTo>
                  <a:pt x="340424" y="431959"/>
                </a:lnTo>
                <a:lnTo>
                  <a:pt x="497587" y="431959"/>
                </a:lnTo>
                <a:lnTo>
                  <a:pt x="497587" y="519113"/>
                </a:lnTo>
                <a:lnTo>
                  <a:pt x="530924" y="519113"/>
                </a:lnTo>
                <a:lnTo>
                  <a:pt x="530924" y="398621"/>
                </a:lnTo>
                <a:lnTo>
                  <a:pt x="475202" y="398621"/>
                </a:lnTo>
                <a:cubicBezTo>
                  <a:pt x="494348" y="382619"/>
                  <a:pt x="506445" y="358616"/>
                  <a:pt x="506445" y="331756"/>
                </a:cubicBezTo>
                <a:close/>
                <a:moveTo>
                  <a:pt x="419005" y="277654"/>
                </a:moveTo>
                <a:cubicBezTo>
                  <a:pt x="448818" y="277654"/>
                  <a:pt x="473107" y="301943"/>
                  <a:pt x="473107" y="331756"/>
                </a:cubicBezTo>
                <a:cubicBezTo>
                  <a:pt x="473107" y="361569"/>
                  <a:pt x="448818" y="385858"/>
                  <a:pt x="419005" y="385858"/>
                </a:cubicBezTo>
                <a:cubicBezTo>
                  <a:pt x="389192" y="385858"/>
                  <a:pt x="364903" y="361569"/>
                  <a:pt x="364903" y="331756"/>
                </a:cubicBezTo>
                <a:cubicBezTo>
                  <a:pt x="364903" y="301943"/>
                  <a:pt x="389192" y="277654"/>
                  <a:pt x="419005" y="277654"/>
                </a:cubicBezTo>
                <a:close/>
                <a:moveTo>
                  <a:pt x="459487" y="151352"/>
                </a:moveTo>
                <a:lnTo>
                  <a:pt x="411671" y="104394"/>
                </a:lnTo>
                <a:lnTo>
                  <a:pt x="388334" y="128207"/>
                </a:lnTo>
                <a:lnTo>
                  <a:pt x="476250" y="214408"/>
                </a:lnTo>
                <a:lnTo>
                  <a:pt x="564166" y="128207"/>
                </a:lnTo>
                <a:lnTo>
                  <a:pt x="540830" y="104394"/>
                </a:lnTo>
                <a:lnTo>
                  <a:pt x="493014" y="151352"/>
                </a:lnTo>
                <a:lnTo>
                  <a:pt x="493014" y="7144"/>
                </a:lnTo>
                <a:lnTo>
                  <a:pt x="304895" y="7144"/>
                </a:lnTo>
                <a:lnTo>
                  <a:pt x="304895" y="40481"/>
                </a:lnTo>
                <a:lnTo>
                  <a:pt x="459677" y="40481"/>
                </a:lnTo>
                <a:lnTo>
                  <a:pt x="459677" y="151352"/>
                </a:lnTo>
                <a:close/>
                <a:moveTo>
                  <a:pt x="476155" y="167735"/>
                </a:moveTo>
                <a:lnTo>
                  <a:pt x="475107" y="166688"/>
                </a:lnTo>
                <a:lnTo>
                  <a:pt x="477203" y="166688"/>
                </a:lnTo>
                <a:lnTo>
                  <a:pt x="476155" y="167735"/>
                </a:lnTo>
                <a:close/>
              </a:path>
            </a:pathLst>
          </a:custGeom>
          <a:solidFill>
            <a:srgbClr val="009AD7"/>
          </a:solidFill>
          <a:ln w="9525" cap="flat">
            <a:noFill/>
            <a:prstDash val="solid"/>
            <a:miter/>
          </a:ln>
        </p:spPr>
        <p:txBody>
          <a:bodyPr rtlCol="0" anchor="ctr"/>
          <a:lstStyle/>
          <a:p>
            <a:endParaRPr lang="en-US" sz="1350"/>
          </a:p>
        </p:txBody>
      </p:sp>
      <p:sp>
        <p:nvSpPr>
          <p:cNvPr id="2" name="TextBox 1">
            <a:extLst>
              <a:ext uri="{FF2B5EF4-FFF2-40B4-BE49-F238E27FC236}">
                <a16:creationId xmlns:a16="http://schemas.microsoft.com/office/drawing/2014/main" id="{90357FD2-2AF1-66C6-E6CB-4F99302AEE4B}"/>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674073141"/>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AAE78933-A7FA-70C3-B09E-D9C1D4AA587E}"/>
              </a:ext>
            </a:extLst>
          </p:cNvPr>
          <p:cNvSpPr>
            <a:spLocks noGrp="1"/>
          </p:cNvSpPr>
          <p:nvPr>
            <p:ph sz="half" idx="1"/>
          </p:nvPr>
        </p:nvSpPr>
        <p:spPr>
          <a:xfrm>
            <a:off x="342900" y="670504"/>
            <a:ext cx="1950530" cy="2968145"/>
          </a:xfrm>
          <a:solidFill>
            <a:schemeClr val="bg1">
              <a:lumMod val="95000"/>
            </a:schemeClr>
          </a:solidFill>
        </p:spPr>
        <p:txBody>
          <a:bodyPr>
            <a:normAutofit lnSpcReduction="10000"/>
          </a:bodyPr>
          <a:lstStyle/>
          <a:p>
            <a:pPr marL="175022" indent="-90488" defTabSz="685800" fontAlgn="base">
              <a:spcBef>
                <a:spcPts val="225"/>
              </a:spcBef>
              <a:spcAft>
                <a:spcPts val="450"/>
              </a:spcAft>
              <a:buClr>
                <a:srgbClr val="00529B"/>
              </a:buClr>
              <a:buNone/>
              <a:defRPr/>
            </a:pPr>
            <a:r>
              <a:rPr lang="en-US" sz="788" b="1" dirty="0">
                <a:solidFill>
                  <a:srgbClr val="00B0F0"/>
                </a:solidFill>
              </a:rPr>
              <a:t> </a:t>
            </a:r>
            <a:r>
              <a:rPr lang="en-US" sz="900" b="1" dirty="0">
                <a:solidFill>
                  <a:srgbClr val="00B0F0"/>
                </a:solidFill>
              </a:rPr>
              <a:t>SOFTWARE ENGINEERING   </a:t>
            </a:r>
            <a:endParaRPr lang="en-US" sz="900" b="1" dirty="0">
              <a:solidFill>
                <a:srgbClr val="00B0F0"/>
              </a:solidFill>
              <a:hlinkClick r:id="rId3">
                <a:extLst>
                  <a:ext uri="{A12FA001-AC4F-418D-AE19-62706E023703}">
                    <ahyp:hlinkClr xmlns:ahyp="http://schemas.microsoft.com/office/drawing/2018/hyperlinkcolor" val="tx"/>
                  </a:ext>
                </a:extLst>
              </a:hlinkClick>
            </a:endParaRPr>
          </a:p>
          <a:p>
            <a:pPr marL="175022" indent="-90488" defTabSz="685800" fontAlgn="base">
              <a:spcBef>
                <a:spcPts val="225"/>
              </a:spcBef>
              <a:buClr>
                <a:srgbClr val="00529B"/>
              </a:buClr>
              <a:buNone/>
              <a:defRPr/>
            </a:pPr>
            <a:r>
              <a:rPr lang="en-US" sz="788" b="1" dirty="0">
                <a:solidFill>
                  <a:schemeClr val="tx2">
                    <a:lumMod val="75000"/>
                    <a:lumOff val="25000"/>
                  </a:schemeClr>
                </a:solidFill>
                <a:hlinkClick r:id="rId4">
                  <a:extLst>
                    <a:ext uri="{A12FA001-AC4F-418D-AE19-62706E023703}">
                      <ahyp:hlinkClr xmlns:ahyp="http://schemas.microsoft.com/office/drawing/2018/hyperlinkcolor" val="tx"/>
                    </a:ext>
                  </a:extLst>
                </a:hlinkClick>
              </a:rPr>
              <a:t>Application Architecture &amp; Integration</a:t>
            </a:r>
            <a:endParaRPr lang="en-US" sz="788" b="1" dirty="0">
              <a:solidFill>
                <a:schemeClr val="tx2">
                  <a:lumMod val="75000"/>
                  <a:lumOff val="25000"/>
                </a:schemeClr>
              </a:solidFill>
            </a:endParaRPr>
          </a:p>
          <a:p>
            <a:pPr marL="175022" lvl="1" indent="-90488" defTabSz="685800" fontAlgn="base">
              <a:spcBef>
                <a:spcPts val="225"/>
              </a:spcBef>
              <a:buClr>
                <a:prstClr val="black"/>
              </a:buClr>
              <a:buFont typeface="Arial" charset="0"/>
              <a:buChar char="-"/>
              <a:defRPr/>
            </a:pPr>
            <a:r>
              <a:rPr lang="en-US" sz="675" dirty="0">
                <a:solidFill>
                  <a:srgbClr val="002856"/>
                </a:solidFill>
              </a:rPr>
              <a:t>Agile &amp; Distributed Application Architecture</a:t>
            </a:r>
          </a:p>
          <a:p>
            <a:pPr marL="175022" lvl="1" indent="-90488" defTabSz="685800" fontAlgn="base">
              <a:spcBef>
                <a:spcPts val="225"/>
              </a:spcBef>
              <a:buClr>
                <a:prstClr val="black"/>
              </a:buClr>
              <a:buFont typeface="Arial" charset="0"/>
              <a:buChar char="-"/>
              <a:defRPr/>
            </a:pPr>
            <a:r>
              <a:rPr lang="en-US" sz="675" dirty="0">
                <a:solidFill>
                  <a:srgbClr val="002856"/>
                </a:solidFill>
              </a:rPr>
              <a:t>API Design, Delivery Management &amp; Integration</a:t>
            </a:r>
          </a:p>
          <a:p>
            <a:pPr marL="175022" lvl="1" indent="-90488" defTabSz="685800" fontAlgn="base">
              <a:spcBef>
                <a:spcPts val="225"/>
              </a:spcBef>
              <a:buClr>
                <a:prstClr val="black"/>
              </a:buClr>
              <a:buFont typeface="Arial" charset="0"/>
              <a:buChar char="-"/>
              <a:defRPr/>
            </a:pPr>
            <a:r>
              <a:rPr lang="en-US" sz="675" dirty="0">
                <a:solidFill>
                  <a:srgbClr val="002856"/>
                </a:solidFill>
              </a:rPr>
              <a:t>Cloud-Native Architecture &amp; Platforms</a:t>
            </a:r>
          </a:p>
          <a:p>
            <a:pPr marL="175022" lvl="1" indent="-90488" defTabSz="685800" fontAlgn="base">
              <a:spcBef>
                <a:spcPts val="225"/>
              </a:spcBef>
              <a:buClr>
                <a:prstClr val="black"/>
              </a:buClr>
              <a:buFont typeface="Arial" charset="0"/>
              <a:buChar char="-"/>
              <a:defRPr/>
            </a:pPr>
            <a:r>
              <a:rPr lang="en-US" sz="675" dirty="0">
                <a:solidFill>
                  <a:srgbClr val="002856"/>
                </a:solidFill>
              </a:rPr>
              <a:t>Application Modernization</a:t>
            </a:r>
          </a:p>
          <a:p>
            <a:pPr marL="175022" lvl="1" indent="-90488" defTabSz="685800" fontAlgn="base">
              <a:spcBef>
                <a:spcPts val="225"/>
              </a:spcBef>
              <a:buClr>
                <a:prstClr val="black"/>
              </a:buClr>
              <a:buFont typeface="Arial" charset="0"/>
              <a:buChar char="-"/>
              <a:defRPr/>
            </a:pPr>
            <a:r>
              <a:rPr lang="en-US" sz="675" dirty="0">
                <a:solidFill>
                  <a:srgbClr val="002856"/>
                </a:solidFill>
              </a:rPr>
              <a:t>Platform Engineering &amp; Developer Experience</a:t>
            </a:r>
          </a:p>
          <a:p>
            <a:pPr marL="175022" lvl="1" indent="-90488" defTabSz="685800" fontAlgn="base">
              <a:spcBef>
                <a:spcPts val="225"/>
              </a:spcBef>
              <a:buClr>
                <a:prstClr val="black"/>
              </a:buClr>
              <a:buFont typeface="Arial" charset="0"/>
              <a:buChar char="-"/>
              <a:defRPr/>
            </a:pPr>
            <a:r>
              <a:rPr lang="en-US" sz="675" dirty="0">
                <a:solidFill>
                  <a:srgbClr val="002856"/>
                </a:solidFill>
              </a:rPr>
              <a:t>Microservices &amp; Event-Driven Architecture</a:t>
            </a:r>
          </a:p>
          <a:p>
            <a:pPr marL="175022" lvl="1" indent="-90488" defTabSz="685800" fontAlgn="base">
              <a:spcBef>
                <a:spcPts val="225"/>
              </a:spcBef>
              <a:buClr>
                <a:prstClr val="black"/>
              </a:buClr>
              <a:buFont typeface="Arial" charset="0"/>
              <a:buChar char="-"/>
              <a:defRPr/>
            </a:pPr>
            <a:r>
              <a:rPr lang="en-US" sz="675" dirty="0">
                <a:solidFill>
                  <a:srgbClr val="002856"/>
                </a:solidFill>
              </a:rPr>
              <a:t>AI &amp; ML in Application Architecture</a:t>
            </a:r>
          </a:p>
          <a:p>
            <a:pPr marL="175022" lvl="1" indent="-90488" defTabSz="685800" fontAlgn="base">
              <a:spcBef>
                <a:spcPts val="225"/>
              </a:spcBef>
              <a:buClr>
                <a:prstClr val="black"/>
              </a:buClr>
              <a:buFont typeface="Arial" charset="0"/>
              <a:buChar char="-"/>
              <a:defRPr/>
            </a:pPr>
            <a:r>
              <a:rPr lang="en-US" sz="675" dirty="0">
                <a:solidFill>
                  <a:srgbClr val="002856"/>
                </a:solidFill>
              </a:rPr>
              <a:t>Integration &amp; Automation Platforms &amp; </a:t>
            </a:r>
            <a:br>
              <a:rPr lang="en-US" sz="675" dirty="0">
                <a:solidFill>
                  <a:srgbClr val="002856"/>
                </a:solidFill>
              </a:rPr>
            </a:br>
            <a:r>
              <a:rPr lang="en-US" sz="675" dirty="0">
                <a:solidFill>
                  <a:srgbClr val="002856"/>
                </a:solidFill>
              </a:rPr>
              <a:t>Technologies</a:t>
            </a:r>
          </a:p>
          <a:p>
            <a:pPr marL="175022" lvl="1" indent="-90488" defTabSz="685800" fontAlgn="base">
              <a:spcBef>
                <a:spcPts val="225"/>
              </a:spcBef>
              <a:buClr>
                <a:prstClr val="black"/>
              </a:buClr>
              <a:buFont typeface="Arial" charset="0"/>
              <a:buChar char="-"/>
              <a:defRPr/>
            </a:pPr>
            <a:r>
              <a:rPr lang="en-US" sz="675" dirty="0">
                <a:solidFill>
                  <a:srgbClr val="002856"/>
                </a:solidFill>
              </a:rPr>
              <a:t>Low-Code Application Platforms</a:t>
            </a:r>
          </a:p>
          <a:p>
            <a:pPr marL="175022" lvl="1" indent="-90488" defTabSz="685800" fontAlgn="base">
              <a:spcBef>
                <a:spcPts val="225"/>
              </a:spcBef>
              <a:buClr>
                <a:prstClr val="black"/>
              </a:buClr>
              <a:buFont typeface="Arial" charset="0"/>
              <a:buChar char="-"/>
              <a:defRPr/>
            </a:pPr>
            <a:r>
              <a:rPr lang="en-US" sz="675" dirty="0">
                <a:solidFill>
                  <a:srgbClr val="002856"/>
                </a:solidFill>
              </a:rPr>
              <a:t>Architecture Patterns, Practices and Skills</a:t>
            </a:r>
          </a:p>
          <a:p>
            <a:pPr marL="175022" lvl="1" indent="-90488" defTabSz="685800" fontAlgn="base">
              <a:spcBef>
                <a:spcPts val="225"/>
              </a:spcBef>
              <a:buClr>
                <a:prstClr val="black"/>
              </a:buClr>
              <a:buFont typeface="Arial" charset="0"/>
              <a:buChar char="-"/>
              <a:defRPr/>
            </a:pPr>
            <a:endParaRPr lang="en-US" sz="675" dirty="0">
              <a:solidFill>
                <a:srgbClr val="002856"/>
              </a:solidFill>
            </a:endParaRPr>
          </a:p>
          <a:p>
            <a:pPr marL="175022" indent="-90488" defTabSz="685800" fontAlgn="base">
              <a:spcBef>
                <a:spcPts val="225"/>
              </a:spcBef>
              <a:buClr>
                <a:srgbClr val="00529B"/>
              </a:buClr>
              <a:buNone/>
              <a:defRPr/>
            </a:pPr>
            <a:r>
              <a:rPr lang="en-US" sz="788" b="1" dirty="0">
                <a:solidFill>
                  <a:srgbClr val="06C4B0"/>
                </a:solidFill>
                <a:hlinkClick r:id="rId5"/>
              </a:rPr>
              <a:t>Software </a:t>
            </a:r>
            <a:r>
              <a:rPr lang="en-US" sz="788" b="1" u="sng" dirty="0">
                <a:solidFill>
                  <a:srgbClr val="06C4B0"/>
                </a:solidFill>
                <a:hlinkClick r:id="rId5"/>
              </a:rPr>
              <a:t>Development &amp; Engineering</a:t>
            </a:r>
            <a:endParaRPr lang="en-US" sz="788" b="1" u="sng" dirty="0">
              <a:solidFill>
                <a:srgbClr val="06C4B0"/>
              </a:solidFill>
            </a:endParaRPr>
          </a:p>
          <a:p>
            <a:pPr marL="175022" lvl="1" indent="-90488" defTabSz="685800" fontAlgn="base">
              <a:spcBef>
                <a:spcPts val="225"/>
              </a:spcBef>
              <a:buClr>
                <a:prstClr val="black"/>
              </a:buClr>
              <a:buFont typeface="Arial" charset="0"/>
              <a:buChar char="-"/>
              <a:defRPr/>
            </a:pPr>
            <a:r>
              <a:rPr lang="en-US" sz="675" dirty="0">
                <a:solidFill>
                  <a:srgbClr val="002856"/>
                </a:solidFill>
              </a:rPr>
              <a:t>Agile Software Development</a:t>
            </a:r>
          </a:p>
          <a:p>
            <a:pPr marL="175022" lvl="1" indent="-90488" defTabSz="685800" fontAlgn="base">
              <a:spcBef>
                <a:spcPts val="225"/>
              </a:spcBef>
              <a:buClr>
                <a:prstClr val="black"/>
              </a:buClr>
              <a:buFont typeface="Arial" charset="0"/>
              <a:buChar char="-"/>
              <a:defRPr/>
            </a:pPr>
            <a:r>
              <a:rPr lang="en-US" sz="675" dirty="0">
                <a:solidFill>
                  <a:srgbClr val="002856"/>
                </a:solidFill>
              </a:rPr>
              <a:t>DevOps Processes, Practices and Platforms </a:t>
            </a:r>
          </a:p>
          <a:p>
            <a:pPr marL="175022" lvl="1" indent="-90488" defTabSz="685800" fontAlgn="base">
              <a:spcBef>
                <a:spcPts val="225"/>
              </a:spcBef>
              <a:buClr>
                <a:prstClr val="black"/>
              </a:buClr>
              <a:buFont typeface="Arial" charset="0"/>
              <a:buChar char="-"/>
              <a:defRPr/>
            </a:pPr>
            <a:r>
              <a:rPr lang="en-US" sz="675" dirty="0">
                <a:solidFill>
                  <a:srgbClr val="002856"/>
                </a:solidFill>
              </a:rPr>
              <a:t>Software Quality and Testing Processes and Practices</a:t>
            </a:r>
          </a:p>
          <a:p>
            <a:pPr marL="175022" lvl="1" indent="-90488" defTabSz="685800" fontAlgn="base">
              <a:spcBef>
                <a:spcPts val="225"/>
              </a:spcBef>
              <a:buClr>
                <a:prstClr val="black"/>
              </a:buClr>
              <a:buFont typeface="Arial" charset="0"/>
              <a:buChar char="-"/>
              <a:defRPr/>
            </a:pPr>
            <a:r>
              <a:rPr lang="en-US" sz="675" dirty="0">
                <a:solidFill>
                  <a:srgbClr val="002856"/>
                </a:solidFill>
              </a:rPr>
              <a:t>Software Application Design and Development</a:t>
            </a:r>
          </a:p>
          <a:p>
            <a:pPr marL="175022" lvl="1" indent="-90488" defTabSz="685800" fontAlgn="base">
              <a:spcBef>
                <a:spcPts val="225"/>
              </a:spcBef>
              <a:buClr>
                <a:prstClr val="black"/>
              </a:buClr>
              <a:buFont typeface="Arial" charset="0"/>
              <a:buChar char="-"/>
              <a:defRPr/>
            </a:pPr>
            <a:r>
              <a:rPr lang="en-US" sz="675" dirty="0">
                <a:solidFill>
                  <a:srgbClr val="002856"/>
                </a:solidFill>
              </a:rPr>
              <a:t>Software Engineering Skills</a:t>
            </a:r>
          </a:p>
          <a:p>
            <a:endParaRPr lang="en-US" dirty="0"/>
          </a:p>
        </p:txBody>
      </p:sp>
      <p:sp>
        <p:nvSpPr>
          <p:cNvPr id="4" name="Plassholder for innhold 3">
            <a:extLst>
              <a:ext uri="{FF2B5EF4-FFF2-40B4-BE49-F238E27FC236}">
                <a16:creationId xmlns:a16="http://schemas.microsoft.com/office/drawing/2014/main" id="{FB8D4781-368E-88C6-CE96-5D8D2B7A7BF1}"/>
              </a:ext>
            </a:extLst>
          </p:cNvPr>
          <p:cNvSpPr>
            <a:spLocks noGrp="1"/>
          </p:cNvSpPr>
          <p:nvPr>
            <p:ph sz="half" idx="2"/>
          </p:nvPr>
        </p:nvSpPr>
        <p:spPr>
          <a:xfrm>
            <a:off x="2511361" y="674245"/>
            <a:ext cx="1950530" cy="2964404"/>
          </a:xfrm>
          <a:solidFill>
            <a:schemeClr val="bg1">
              <a:lumMod val="95000"/>
            </a:schemeClr>
          </a:solidFill>
        </p:spPr>
        <p:txBody>
          <a:bodyPr>
            <a:normAutofit lnSpcReduction="10000"/>
          </a:bodyPr>
          <a:lstStyle/>
          <a:p>
            <a:pPr marL="175022" indent="-90488" defTabSz="685800" fontAlgn="base">
              <a:spcBef>
                <a:spcPts val="225"/>
              </a:spcBef>
              <a:spcAft>
                <a:spcPts val="450"/>
              </a:spcAft>
              <a:buClr>
                <a:srgbClr val="00529B"/>
              </a:buClr>
              <a:buNone/>
              <a:defRPr/>
            </a:pPr>
            <a:r>
              <a:rPr lang="en-US" sz="900" b="1" dirty="0">
                <a:solidFill>
                  <a:schemeClr val="bg2"/>
                </a:solidFill>
              </a:rPr>
              <a:t> </a:t>
            </a:r>
            <a:r>
              <a:rPr lang="en-US" sz="900" b="1" dirty="0">
                <a:solidFill>
                  <a:srgbClr val="00B0F0"/>
                </a:solidFill>
              </a:rPr>
              <a:t>DATA &amp; ANALYTICS</a:t>
            </a:r>
            <a:endParaRPr lang="en-US" sz="900" b="1" dirty="0">
              <a:solidFill>
                <a:srgbClr val="00B0F0"/>
              </a:solidFill>
              <a:hlinkClick r:id="" action="ppaction://noaction">
                <a:extLst>
                  <a:ext uri="{A12FA001-AC4F-418D-AE19-62706E023703}">
                    <ahyp:hlinkClr xmlns:ahyp="http://schemas.microsoft.com/office/drawing/2018/hyperlinkcolor" val="tx"/>
                  </a:ext>
                </a:extLst>
              </a:hlinkClick>
            </a:endParaRPr>
          </a:p>
          <a:p>
            <a:pPr marL="175022" indent="-90488" defTabSz="685800" fontAlgn="base">
              <a:spcBef>
                <a:spcPts val="225"/>
              </a:spcBef>
              <a:buClr>
                <a:srgbClr val="00529B"/>
              </a:buClr>
              <a:buNone/>
              <a:defRPr/>
            </a:pPr>
            <a:r>
              <a:rPr lang="en-US" sz="788" b="1" dirty="0">
                <a:solidFill>
                  <a:srgbClr val="E81159"/>
                </a:solidFill>
                <a:hlinkClick r:id="rId6">
                  <a:extLst>
                    <a:ext uri="{A12FA001-AC4F-418D-AE19-62706E023703}">
                      <ahyp:hlinkClr xmlns:ahyp="http://schemas.microsoft.com/office/drawing/2018/hyperlinkcolor" val="tx"/>
                    </a:ext>
                  </a:extLst>
                </a:hlinkClick>
              </a:rPr>
              <a:t>Analytics &amp; Artificial Intelligence</a:t>
            </a:r>
            <a:endParaRPr lang="en-US" sz="788" b="1" dirty="0">
              <a:solidFill>
                <a:srgbClr val="E81159"/>
              </a:solidFill>
            </a:endParaRPr>
          </a:p>
          <a:p>
            <a:pPr marL="175022" lvl="1" indent="-90488" defTabSz="342900" fontAlgn="base">
              <a:spcBef>
                <a:spcPts val="225"/>
              </a:spcBef>
              <a:buClr>
                <a:prstClr val="black"/>
              </a:buClr>
              <a:buFont typeface="Arial" charset="0"/>
              <a:buChar char="-"/>
              <a:defRPr/>
            </a:pPr>
            <a:r>
              <a:rPr lang="en-US" sz="675" dirty="0">
                <a:solidFill>
                  <a:srgbClr val="002856"/>
                </a:solidFill>
              </a:rPr>
              <a:t>AI Core Technologies, Skills and Governance</a:t>
            </a:r>
          </a:p>
          <a:p>
            <a:pPr marL="175022" lvl="1" indent="-90488" defTabSz="342900" fontAlgn="base">
              <a:spcBef>
                <a:spcPts val="225"/>
              </a:spcBef>
              <a:buClr>
                <a:prstClr val="black"/>
              </a:buClr>
              <a:buFont typeface="Arial" charset="0"/>
              <a:buChar char="-"/>
              <a:defRPr/>
            </a:pPr>
            <a:r>
              <a:rPr lang="en-US" sz="675" dirty="0">
                <a:solidFill>
                  <a:srgbClr val="002856"/>
                </a:solidFill>
              </a:rPr>
              <a:t>AI Solution Implementation</a:t>
            </a:r>
          </a:p>
          <a:p>
            <a:pPr marL="175022" lvl="1" indent="-90488" defTabSz="342900" fontAlgn="base">
              <a:spcBef>
                <a:spcPts val="225"/>
              </a:spcBef>
              <a:buClr>
                <a:prstClr val="black"/>
              </a:buClr>
              <a:buFont typeface="Arial" charset="0"/>
              <a:buChar char="-"/>
              <a:defRPr/>
            </a:pPr>
            <a:r>
              <a:rPr lang="en-US" sz="675" dirty="0">
                <a:solidFill>
                  <a:srgbClr val="002856"/>
                </a:solidFill>
              </a:rPr>
              <a:t> Analytics and AI Architectures</a:t>
            </a:r>
          </a:p>
          <a:p>
            <a:pPr marL="175022" lvl="1" indent="-90488" defTabSz="342900" fontAlgn="base">
              <a:spcBef>
                <a:spcPts val="225"/>
              </a:spcBef>
              <a:buClr>
                <a:prstClr val="black"/>
              </a:buClr>
              <a:buFont typeface="Arial" charset="0"/>
              <a:buChar char="-"/>
              <a:defRPr/>
            </a:pPr>
            <a:r>
              <a:rPr lang="en-US" sz="675" dirty="0">
                <a:solidFill>
                  <a:srgbClr val="002856"/>
                </a:solidFill>
              </a:rPr>
              <a:t>Analytics Architecture and Modernization</a:t>
            </a:r>
          </a:p>
          <a:p>
            <a:pPr marL="175022" lvl="1" indent="-90488" defTabSz="342900" fontAlgn="base">
              <a:spcBef>
                <a:spcPts val="225"/>
              </a:spcBef>
              <a:buClr>
                <a:prstClr val="black"/>
              </a:buClr>
              <a:buFont typeface="Arial" charset="0"/>
              <a:buChar char="-"/>
              <a:defRPr/>
            </a:pPr>
            <a:r>
              <a:rPr lang="en-US" sz="675" dirty="0">
                <a:solidFill>
                  <a:srgbClr val="002856"/>
                </a:solidFill>
              </a:rPr>
              <a:t>Analytics and BI Solutions</a:t>
            </a:r>
          </a:p>
          <a:p>
            <a:pPr marL="175022" lvl="1" indent="-90488" defTabSz="342900" fontAlgn="base">
              <a:spcBef>
                <a:spcPts val="225"/>
              </a:spcBef>
              <a:buClr>
                <a:prstClr val="black"/>
              </a:buClr>
              <a:buFont typeface="Arial" charset="0"/>
              <a:buChar char="-"/>
              <a:defRPr/>
            </a:pPr>
            <a:endParaRPr lang="en-US" sz="675" dirty="0">
              <a:solidFill>
                <a:srgbClr val="002856"/>
              </a:solidFill>
            </a:endParaRPr>
          </a:p>
          <a:p>
            <a:pPr marL="175022" indent="-90488" defTabSz="685800" fontAlgn="base">
              <a:spcBef>
                <a:spcPts val="225"/>
              </a:spcBef>
              <a:buClr>
                <a:srgbClr val="00529B"/>
              </a:buClr>
              <a:buNone/>
              <a:defRPr/>
            </a:pPr>
            <a:r>
              <a:rPr lang="en-US" sz="788" b="1" dirty="0">
                <a:solidFill>
                  <a:srgbClr val="E81159"/>
                </a:solidFill>
                <a:hlinkClick r:id="rId7">
                  <a:extLst>
                    <a:ext uri="{A12FA001-AC4F-418D-AE19-62706E023703}">
                      <ahyp:hlinkClr xmlns:ahyp="http://schemas.microsoft.com/office/drawing/2018/hyperlinkcolor" val="tx"/>
                    </a:ext>
                  </a:extLst>
                </a:hlinkClick>
              </a:rPr>
              <a:t>Data Management Solutions</a:t>
            </a:r>
            <a:endParaRPr lang="en-US" sz="788" b="1" dirty="0">
              <a:solidFill>
                <a:srgbClr val="E81159"/>
              </a:solidFill>
            </a:endParaRPr>
          </a:p>
          <a:p>
            <a:pPr marL="175022" lvl="1" indent="-90488" defTabSz="342900" fontAlgn="base">
              <a:spcBef>
                <a:spcPts val="225"/>
              </a:spcBef>
              <a:buClr>
                <a:prstClr val="black"/>
              </a:buClr>
              <a:buFont typeface="Arial" charset="0"/>
              <a:buChar char="-"/>
              <a:defRPr/>
            </a:pPr>
            <a:r>
              <a:rPr lang="en-US" sz="675" dirty="0">
                <a:solidFill>
                  <a:srgbClr val="002856"/>
                </a:solidFill>
              </a:rPr>
              <a:t>Master Data Management Architecture</a:t>
            </a:r>
          </a:p>
          <a:p>
            <a:pPr marL="175022" lvl="1" indent="-90488" defTabSz="342900" fontAlgn="base">
              <a:spcBef>
                <a:spcPts val="225"/>
              </a:spcBef>
              <a:buClr>
                <a:prstClr val="black"/>
              </a:buClr>
              <a:buFont typeface="Arial" charset="0"/>
              <a:buChar char="-"/>
              <a:defRPr/>
            </a:pPr>
            <a:r>
              <a:rPr lang="en-US" sz="675" dirty="0">
                <a:solidFill>
                  <a:srgbClr val="002856"/>
                </a:solidFill>
              </a:rPr>
              <a:t>Data Governance </a:t>
            </a:r>
            <a:r>
              <a:rPr lang="en-US" sz="675" dirty="0" err="1">
                <a:solidFill>
                  <a:srgbClr val="002856"/>
                </a:solidFill>
              </a:rPr>
              <a:t>andApplication</a:t>
            </a:r>
            <a:r>
              <a:rPr lang="en-US" sz="675" dirty="0">
                <a:solidFill>
                  <a:srgbClr val="002856"/>
                </a:solidFill>
              </a:rPr>
              <a:t> Information Management</a:t>
            </a:r>
          </a:p>
          <a:p>
            <a:pPr marL="175022" lvl="1" indent="-90488" defTabSz="342900" fontAlgn="base">
              <a:spcBef>
                <a:spcPts val="225"/>
              </a:spcBef>
              <a:buClr>
                <a:prstClr val="black"/>
              </a:buClr>
              <a:buFont typeface="Arial" charset="0"/>
              <a:buChar char="-"/>
              <a:defRPr/>
            </a:pPr>
            <a:r>
              <a:rPr lang="en-US" sz="675" dirty="0">
                <a:solidFill>
                  <a:srgbClr val="002856"/>
                </a:solidFill>
              </a:rPr>
              <a:t>Big Data Technologies &amp; Architecture</a:t>
            </a:r>
          </a:p>
          <a:p>
            <a:pPr marL="175022" lvl="1" indent="-90488" defTabSz="342900" fontAlgn="base">
              <a:spcBef>
                <a:spcPts val="225"/>
              </a:spcBef>
              <a:buClr>
                <a:prstClr val="black"/>
              </a:buClr>
              <a:buFont typeface="Arial" charset="0"/>
              <a:buChar char="-"/>
              <a:defRPr/>
            </a:pPr>
            <a:r>
              <a:rPr lang="en-US" sz="675" dirty="0">
                <a:solidFill>
                  <a:srgbClr val="002856"/>
                </a:solidFill>
              </a:rPr>
              <a:t>Data Orchestration and Next Generation Integration</a:t>
            </a:r>
          </a:p>
          <a:p>
            <a:pPr marL="175022" lvl="1" indent="-90488" defTabSz="342900" fontAlgn="base">
              <a:spcBef>
                <a:spcPts val="225"/>
              </a:spcBef>
              <a:buClr>
                <a:prstClr val="black"/>
              </a:buClr>
              <a:buFont typeface="Arial" charset="0"/>
              <a:buChar char="-"/>
              <a:defRPr/>
            </a:pPr>
            <a:r>
              <a:rPr lang="en-US" sz="675" dirty="0">
                <a:solidFill>
                  <a:srgbClr val="002856"/>
                </a:solidFill>
              </a:rPr>
              <a:t>Data Engineering, Metadata Management and Automation</a:t>
            </a:r>
          </a:p>
          <a:p>
            <a:pPr marL="175022" lvl="1" indent="-90488" defTabSz="342900" fontAlgn="base">
              <a:spcBef>
                <a:spcPts val="225"/>
              </a:spcBef>
              <a:buClr>
                <a:prstClr val="black"/>
              </a:buClr>
              <a:buFont typeface="Arial" charset="0"/>
              <a:buChar char="-"/>
              <a:defRPr/>
            </a:pPr>
            <a:r>
              <a:rPr lang="en-US" sz="675" dirty="0">
                <a:solidFill>
                  <a:srgbClr val="002856"/>
                </a:solidFill>
              </a:rPr>
              <a:t>Data Management – Database Storage and Architecture, Modernization, Guiding Principles and Deployments</a:t>
            </a:r>
          </a:p>
          <a:p>
            <a:pPr marL="175022" lvl="1" indent="-90488" defTabSz="342900" fontAlgn="base">
              <a:spcBef>
                <a:spcPts val="225"/>
              </a:spcBef>
              <a:buClr>
                <a:prstClr val="black"/>
              </a:buClr>
              <a:buFont typeface="Arial" charset="0"/>
              <a:buChar char="-"/>
              <a:defRPr/>
            </a:pPr>
            <a:r>
              <a:rPr lang="en-US" sz="675" dirty="0">
                <a:solidFill>
                  <a:srgbClr val="002856"/>
                </a:solidFill>
              </a:rPr>
              <a:t>Next Generation Integration</a:t>
            </a:r>
          </a:p>
          <a:p>
            <a:endParaRPr lang="en-US" dirty="0"/>
          </a:p>
        </p:txBody>
      </p:sp>
      <p:sp>
        <p:nvSpPr>
          <p:cNvPr id="5" name="Plassholder for innhold 4">
            <a:extLst>
              <a:ext uri="{FF2B5EF4-FFF2-40B4-BE49-F238E27FC236}">
                <a16:creationId xmlns:a16="http://schemas.microsoft.com/office/drawing/2014/main" id="{22B733FA-F346-6D8D-8952-B9F33A3EFA1C}"/>
              </a:ext>
            </a:extLst>
          </p:cNvPr>
          <p:cNvSpPr>
            <a:spLocks noGrp="1"/>
          </p:cNvSpPr>
          <p:nvPr>
            <p:ph sz="half" idx="10"/>
          </p:nvPr>
        </p:nvSpPr>
        <p:spPr>
          <a:xfrm>
            <a:off x="6833641" y="670503"/>
            <a:ext cx="2120947" cy="3525418"/>
          </a:xfrm>
          <a:solidFill>
            <a:schemeClr val="bg1">
              <a:lumMod val="95000"/>
            </a:schemeClr>
          </a:solidFill>
        </p:spPr>
        <p:txBody>
          <a:bodyPr/>
          <a:lstStyle/>
          <a:p>
            <a:pPr marL="175022" indent="-90488" defTabSz="685800" fontAlgn="base">
              <a:spcBef>
                <a:spcPts val="225"/>
              </a:spcBef>
              <a:spcAft>
                <a:spcPts val="450"/>
              </a:spcAft>
              <a:buClr>
                <a:srgbClr val="00529B"/>
              </a:buClr>
              <a:buNone/>
              <a:defRPr/>
            </a:pPr>
            <a:r>
              <a:rPr lang="en-US" sz="788" b="1" dirty="0">
                <a:solidFill>
                  <a:srgbClr val="00B0F0"/>
                </a:solidFill>
              </a:rPr>
              <a:t> </a:t>
            </a:r>
            <a:r>
              <a:rPr lang="en-US" sz="900" b="1" dirty="0">
                <a:solidFill>
                  <a:srgbClr val="00B0F0"/>
                </a:solidFill>
              </a:rPr>
              <a:t>INFRASTRUCTURE &amp; OPERATIONS</a:t>
            </a:r>
            <a:endParaRPr lang="en-US" sz="900" b="1" dirty="0">
              <a:solidFill>
                <a:srgbClr val="00B0F0"/>
              </a:solidFill>
              <a:hlinkClick r:id="" action="ppaction://noaction">
                <a:extLst>
                  <a:ext uri="{A12FA001-AC4F-418D-AE19-62706E023703}">
                    <ahyp:hlinkClr xmlns:ahyp="http://schemas.microsoft.com/office/drawing/2018/hyperlinkcolor" val="tx"/>
                  </a:ext>
                </a:extLst>
              </a:hlinkClick>
            </a:endParaRPr>
          </a:p>
          <a:p>
            <a:pPr marL="175022" indent="-90488" defTabSz="685800" fontAlgn="base">
              <a:spcBef>
                <a:spcPts val="225"/>
              </a:spcBef>
              <a:buClr>
                <a:srgbClr val="00529B"/>
              </a:buClr>
              <a:buNone/>
              <a:defRPr/>
            </a:pPr>
            <a:r>
              <a:rPr lang="en-US" sz="788" b="1" dirty="0">
                <a:solidFill>
                  <a:srgbClr val="009AD7"/>
                </a:solidFill>
                <a:hlinkClick r:id="rId8">
                  <a:extLst>
                    <a:ext uri="{A12FA001-AC4F-418D-AE19-62706E023703}">
                      <ahyp:hlinkClr xmlns:ahyp="http://schemas.microsoft.com/office/drawing/2018/hyperlinkcolor" val="tx"/>
                    </a:ext>
                  </a:extLst>
                </a:hlinkClick>
              </a:rPr>
              <a:t>Infrastructure</a:t>
            </a:r>
            <a:endParaRPr lang="en-US" sz="675" dirty="0">
              <a:solidFill>
                <a:srgbClr val="002856"/>
              </a:solidFill>
            </a:endParaRPr>
          </a:p>
          <a:p>
            <a:pPr marL="175022" lvl="1" indent="-90488" defTabSz="342900" fontAlgn="base">
              <a:spcBef>
                <a:spcPts val="225"/>
              </a:spcBef>
              <a:buClr>
                <a:prstClr val="black"/>
              </a:buClr>
              <a:buFont typeface="Arial" charset="0"/>
              <a:buChar char="-"/>
              <a:defRPr/>
            </a:pPr>
            <a:r>
              <a:rPr lang="en-US" sz="675" dirty="0">
                <a:solidFill>
                  <a:srgbClr val="002856"/>
                </a:solidFill>
              </a:rPr>
              <a:t>Private &amp; Hybrid Cloud</a:t>
            </a:r>
          </a:p>
          <a:p>
            <a:pPr marL="175022" lvl="1" indent="-90488" defTabSz="342900" fontAlgn="base">
              <a:spcBef>
                <a:spcPts val="225"/>
              </a:spcBef>
              <a:buClr>
                <a:prstClr val="black"/>
              </a:buClr>
              <a:buFont typeface="Arial" charset="0"/>
              <a:buChar char="-"/>
              <a:defRPr/>
            </a:pPr>
            <a:r>
              <a:rPr lang="en-US" sz="675" dirty="0">
                <a:solidFill>
                  <a:srgbClr val="002856"/>
                </a:solidFill>
              </a:rPr>
              <a:t>Data Center Architecture</a:t>
            </a:r>
          </a:p>
          <a:p>
            <a:pPr marL="175022" lvl="1" indent="-90488" defTabSz="342900" fontAlgn="base">
              <a:spcBef>
                <a:spcPts val="225"/>
              </a:spcBef>
              <a:buClr>
                <a:prstClr val="black"/>
              </a:buClr>
              <a:buFont typeface="Arial" charset="0"/>
              <a:buChar char="-"/>
              <a:defRPr/>
            </a:pPr>
            <a:r>
              <a:rPr lang="en-US" sz="675" dirty="0">
                <a:solidFill>
                  <a:srgbClr val="002856"/>
                </a:solidFill>
              </a:rPr>
              <a:t>Virtualization and Hyperconverged </a:t>
            </a:r>
          </a:p>
          <a:p>
            <a:pPr marL="175022" lvl="1" indent="-90488" defTabSz="342900" fontAlgn="base">
              <a:spcBef>
                <a:spcPts val="225"/>
              </a:spcBef>
              <a:buClr>
                <a:prstClr val="black"/>
              </a:buClr>
              <a:buFont typeface="Arial" charset="0"/>
              <a:buChar char="-"/>
              <a:defRPr/>
            </a:pPr>
            <a:r>
              <a:rPr lang="en-US" sz="675" dirty="0">
                <a:solidFill>
                  <a:srgbClr val="002856"/>
                </a:solidFill>
              </a:rPr>
              <a:t>Public Cloud Infrastructure</a:t>
            </a:r>
          </a:p>
          <a:p>
            <a:pPr marL="175022" lvl="1" indent="-90488" defTabSz="342900" fontAlgn="base">
              <a:spcBef>
                <a:spcPts val="225"/>
              </a:spcBef>
              <a:buClr>
                <a:prstClr val="black"/>
              </a:buClr>
              <a:buFont typeface="Arial" charset="0"/>
              <a:buChar char="-"/>
              <a:defRPr/>
            </a:pPr>
            <a:r>
              <a:rPr lang="en-US" sz="675" dirty="0">
                <a:solidFill>
                  <a:srgbClr val="002856"/>
                </a:solidFill>
              </a:rPr>
              <a:t>Edge Infrastructure</a:t>
            </a:r>
          </a:p>
          <a:p>
            <a:pPr marL="175022" lvl="1" indent="-90488" defTabSz="342900" fontAlgn="base">
              <a:spcBef>
                <a:spcPts val="225"/>
              </a:spcBef>
              <a:buClr>
                <a:prstClr val="black"/>
              </a:buClr>
              <a:buFont typeface="Arial" charset="0"/>
              <a:buChar char="-"/>
              <a:defRPr/>
            </a:pPr>
            <a:r>
              <a:rPr lang="en-US" sz="675" dirty="0">
                <a:solidFill>
                  <a:srgbClr val="002856"/>
                </a:solidFill>
              </a:rPr>
              <a:t>Platform Architecture</a:t>
            </a:r>
          </a:p>
          <a:p>
            <a:pPr marL="175022" lvl="1" indent="-90488" defTabSz="342900" fontAlgn="base">
              <a:spcBef>
                <a:spcPts val="225"/>
              </a:spcBef>
              <a:buClr>
                <a:prstClr val="black"/>
              </a:buClr>
              <a:buFont typeface="Arial" charset="0"/>
              <a:buChar char="-"/>
              <a:defRPr/>
            </a:pPr>
            <a:r>
              <a:rPr lang="en-US" sz="675" dirty="0">
                <a:solidFill>
                  <a:srgbClr val="002856"/>
                </a:solidFill>
              </a:rPr>
              <a:t>Modern Networking</a:t>
            </a:r>
          </a:p>
          <a:p>
            <a:pPr marL="175022" lvl="1" indent="-90488" defTabSz="342900" fontAlgn="base">
              <a:spcBef>
                <a:spcPts val="225"/>
              </a:spcBef>
              <a:buClr>
                <a:prstClr val="black"/>
              </a:buClr>
              <a:buFont typeface="Arial" charset="0"/>
              <a:buChar char="-"/>
              <a:defRPr/>
            </a:pPr>
            <a:r>
              <a:rPr lang="en-US" sz="675" dirty="0">
                <a:solidFill>
                  <a:srgbClr val="002856"/>
                </a:solidFill>
              </a:rPr>
              <a:t>Quantum Computing</a:t>
            </a:r>
          </a:p>
          <a:p>
            <a:pPr marL="175022" lvl="1" indent="-90488" defTabSz="342900" fontAlgn="base">
              <a:spcBef>
                <a:spcPts val="225"/>
              </a:spcBef>
              <a:buClr>
                <a:prstClr val="black"/>
              </a:buClr>
              <a:buFont typeface="Arial" charset="0"/>
              <a:buChar char="-"/>
              <a:defRPr/>
            </a:pPr>
            <a:r>
              <a:rPr lang="en-US" sz="675" dirty="0">
                <a:solidFill>
                  <a:srgbClr val="002856"/>
                </a:solidFill>
              </a:rPr>
              <a:t>Containers / Kubernetes</a:t>
            </a:r>
          </a:p>
          <a:p>
            <a:pPr marL="175022" lvl="1" indent="-90488" defTabSz="342900" fontAlgn="base">
              <a:spcBef>
                <a:spcPts val="225"/>
              </a:spcBef>
              <a:buClr>
                <a:prstClr val="black"/>
              </a:buClr>
              <a:buFont typeface="Arial" charset="0"/>
              <a:buChar char="-"/>
              <a:defRPr/>
            </a:pPr>
            <a:r>
              <a:rPr lang="en-US" sz="675" dirty="0">
                <a:solidFill>
                  <a:srgbClr val="002856"/>
                </a:solidFill>
              </a:rPr>
              <a:t>5G and Private Mobile Networks</a:t>
            </a:r>
          </a:p>
          <a:p>
            <a:pPr marL="175022" lvl="1" indent="-90488" defTabSz="342900" fontAlgn="base">
              <a:spcBef>
                <a:spcPts val="225"/>
              </a:spcBef>
              <a:buClr>
                <a:prstClr val="black"/>
              </a:buClr>
              <a:buFont typeface="Arial" charset="0"/>
              <a:buChar char="-"/>
              <a:defRPr/>
            </a:pPr>
            <a:r>
              <a:rPr lang="en-US" sz="675" dirty="0">
                <a:solidFill>
                  <a:srgbClr val="002856"/>
                </a:solidFill>
              </a:rPr>
              <a:t>Essential I&amp;O Skills</a:t>
            </a:r>
          </a:p>
          <a:p>
            <a:pPr marL="175022" lvl="1" indent="-90488" defTabSz="342900" fontAlgn="base">
              <a:spcBef>
                <a:spcPts val="225"/>
              </a:spcBef>
              <a:buClr>
                <a:prstClr val="black"/>
              </a:buClr>
              <a:buFont typeface="Arial" charset="0"/>
              <a:buChar char="-"/>
              <a:defRPr/>
            </a:pPr>
            <a:endParaRPr lang="en-US" sz="675" dirty="0">
              <a:solidFill>
                <a:srgbClr val="002856"/>
              </a:solidFill>
            </a:endParaRPr>
          </a:p>
          <a:p>
            <a:pPr marL="175022" indent="-90488" defTabSz="685800" fontAlgn="base">
              <a:spcBef>
                <a:spcPts val="225"/>
              </a:spcBef>
              <a:buClr>
                <a:srgbClr val="00529B"/>
              </a:buClr>
              <a:buNone/>
              <a:defRPr/>
            </a:pPr>
            <a:r>
              <a:rPr lang="en-US" sz="788" b="1" dirty="0">
                <a:solidFill>
                  <a:srgbClr val="009AD7"/>
                </a:solidFill>
                <a:hlinkClick r:id="rId9">
                  <a:extLst>
                    <a:ext uri="{A12FA001-AC4F-418D-AE19-62706E023703}">
                      <ahyp:hlinkClr xmlns:ahyp="http://schemas.microsoft.com/office/drawing/2018/hyperlinkcolor" val="tx"/>
                    </a:ext>
                  </a:extLst>
                </a:hlinkClick>
              </a:rPr>
              <a:t>IT Operations &amp; Cloud Management</a:t>
            </a:r>
            <a:endParaRPr lang="en-US" sz="788" b="1" dirty="0">
              <a:solidFill>
                <a:srgbClr val="009AD7"/>
              </a:solidFill>
            </a:endParaRPr>
          </a:p>
          <a:p>
            <a:pPr marL="175022" lvl="1" indent="-90488" defTabSz="342900" fontAlgn="base">
              <a:spcBef>
                <a:spcPts val="225"/>
              </a:spcBef>
              <a:buClr>
                <a:prstClr val="black"/>
              </a:buClr>
              <a:buFont typeface="Arial" charset="0"/>
              <a:buChar char="-"/>
              <a:defRPr/>
            </a:pPr>
            <a:r>
              <a:rPr lang="en-US" sz="675" dirty="0">
                <a:solidFill>
                  <a:srgbClr val="002856"/>
                </a:solidFill>
              </a:rPr>
              <a:t>Automation of Infrastructure, Provisioning, Processes and DevOps</a:t>
            </a:r>
          </a:p>
          <a:p>
            <a:pPr marL="175022" lvl="1" indent="-90488" defTabSz="342900" fontAlgn="base">
              <a:spcBef>
                <a:spcPts val="225"/>
              </a:spcBef>
              <a:buClr>
                <a:prstClr val="black"/>
              </a:buClr>
              <a:buFont typeface="Arial" charset="0"/>
              <a:buChar char="-"/>
              <a:defRPr/>
            </a:pPr>
            <a:r>
              <a:rPr lang="en-US" sz="675" dirty="0">
                <a:solidFill>
                  <a:srgbClr val="002856"/>
                </a:solidFill>
              </a:rPr>
              <a:t>IT Operations Strategies and Practices</a:t>
            </a:r>
          </a:p>
          <a:p>
            <a:pPr marL="175022" lvl="1" indent="-90488" defTabSz="342900" fontAlgn="base">
              <a:spcBef>
                <a:spcPts val="225"/>
              </a:spcBef>
              <a:buClr>
                <a:prstClr val="black"/>
              </a:buClr>
              <a:buFont typeface="Arial" charset="0"/>
              <a:buChar char="-"/>
              <a:defRPr/>
            </a:pPr>
            <a:r>
              <a:rPr lang="en-US" sz="675" dirty="0">
                <a:solidFill>
                  <a:srgbClr val="002856"/>
                </a:solidFill>
              </a:rPr>
              <a:t>IT Service Management and Governance</a:t>
            </a:r>
          </a:p>
          <a:p>
            <a:pPr marL="175022" lvl="1" indent="-90488" defTabSz="342900" fontAlgn="base">
              <a:spcBef>
                <a:spcPts val="225"/>
              </a:spcBef>
              <a:buClr>
                <a:prstClr val="black"/>
              </a:buClr>
              <a:buFont typeface="Arial" charset="0"/>
              <a:buChar char="-"/>
              <a:defRPr/>
            </a:pPr>
            <a:r>
              <a:rPr lang="en-US" sz="675" dirty="0">
                <a:solidFill>
                  <a:srgbClr val="002856"/>
                </a:solidFill>
              </a:rPr>
              <a:t>Monitoring, Observability and AIOps</a:t>
            </a:r>
          </a:p>
          <a:p>
            <a:pPr marL="175022" lvl="1" indent="-90488" defTabSz="342900" fontAlgn="base">
              <a:spcBef>
                <a:spcPts val="225"/>
              </a:spcBef>
              <a:buClr>
                <a:prstClr val="black"/>
              </a:buClr>
              <a:buFont typeface="Arial" charset="0"/>
              <a:buChar char="-"/>
              <a:defRPr/>
            </a:pPr>
            <a:r>
              <a:rPr lang="en-US" sz="675" dirty="0">
                <a:solidFill>
                  <a:srgbClr val="002856"/>
                </a:solidFill>
              </a:rPr>
              <a:t>Cloud &amp; Data Center Management Platforms</a:t>
            </a:r>
          </a:p>
          <a:p>
            <a:pPr marL="175022" lvl="1" indent="-90488" defTabSz="342900" fontAlgn="base">
              <a:spcBef>
                <a:spcPts val="225"/>
              </a:spcBef>
              <a:buClr>
                <a:prstClr val="black"/>
              </a:buClr>
              <a:buFont typeface="Arial" charset="0"/>
              <a:buChar char="-"/>
              <a:defRPr/>
            </a:pPr>
            <a:r>
              <a:rPr lang="en-US" sz="675" dirty="0">
                <a:solidFill>
                  <a:srgbClr val="002856"/>
                </a:solidFill>
              </a:rPr>
              <a:t>DevOps, Platform Engineering, SRE</a:t>
            </a:r>
          </a:p>
          <a:p>
            <a:pPr marL="175022" lvl="1" indent="-90488" defTabSz="342900" fontAlgn="base">
              <a:spcBef>
                <a:spcPts val="225"/>
              </a:spcBef>
              <a:buClr>
                <a:prstClr val="black"/>
              </a:buClr>
              <a:buFont typeface="Arial" charset="0"/>
              <a:buChar char="-"/>
              <a:defRPr/>
            </a:pPr>
            <a:r>
              <a:rPr lang="en-US" sz="675" dirty="0">
                <a:solidFill>
                  <a:srgbClr val="002856"/>
                </a:solidFill>
              </a:rPr>
              <a:t>Cloud Adoption &amp; Governance</a:t>
            </a:r>
          </a:p>
          <a:p>
            <a:pPr marL="175022" lvl="1" indent="-90488" defTabSz="342900" fontAlgn="base">
              <a:spcBef>
                <a:spcPts val="225"/>
              </a:spcBef>
              <a:buClr>
                <a:prstClr val="black"/>
              </a:buClr>
              <a:buFont typeface="Arial" charset="0"/>
              <a:buChar char="-"/>
              <a:defRPr/>
            </a:pPr>
            <a:r>
              <a:rPr lang="en-US" sz="675" dirty="0">
                <a:solidFill>
                  <a:srgbClr val="002856"/>
                </a:solidFill>
              </a:rPr>
              <a:t>Capacity Planning / Cost Optimization</a:t>
            </a:r>
          </a:p>
          <a:p>
            <a:pPr marL="175022" lvl="1" indent="-90488" defTabSz="342900" fontAlgn="base">
              <a:spcBef>
                <a:spcPts val="225"/>
              </a:spcBef>
              <a:buClr>
                <a:prstClr val="black"/>
              </a:buClr>
              <a:buFont typeface="Arial" charset="0"/>
              <a:buChar char="-"/>
              <a:defRPr/>
            </a:pPr>
            <a:r>
              <a:rPr lang="en-US" sz="675" dirty="0">
                <a:solidFill>
                  <a:srgbClr val="002856"/>
                </a:solidFill>
              </a:rPr>
              <a:t>Cost Management and Resource Optimization</a:t>
            </a:r>
          </a:p>
          <a:p>
            <a:pPr marL="175022" lvl="1" indent="-90488" defTabSz="342900" fontAlgn="base">
              <a:spcBef>
                <a:spcPts val="225"/>
              </a:spcBef>
              <a:buClr>
                <a:prstClr val="black"/>
              </a:buClr>
              <a:buFont typeface="Arial" charset="0"/>
              <a:buChar char="-"/>
              <a:defRPr/>
            </a:pPr>
            <a:r>
              <a:rPr lang="en-US" sz="675" dirty="0">
                <a:solidFill>
                  <a:srgbClr val="002856"/>
                </a:solidFill>
              </a:rPr>
              <a:t>IT Service Continuity &amp; Disaster Recovery</a:t>
            </a:r>
          </a:p>
          <a:p>
            <a:endParaRPr lang="en-US" dirty="0"/>
          </a:p>
        </p:txBody>
      </p:sp>
      <p:sp>
        <p:nvSpPr>
          <p:cNvPr id="6" name="Plassholder for innhold 5">
            <a:extLst>
              <a:ext uri="{FF2B5EF4-FFF2-40B4-BE49-F238E27FC236}">
                <a16:creationId xmlns:a16="http://schemas.microsoft.com/office/drawing/2014/main" id="{D3B1AA02-385F-A3F3-0DFD-DA3416F6E624}"/>
              </a:ext>
            </a:extLst>
          </p:cNvPr>
          <p:cNvSpPr>
            <a:spLocks noGrp="1"/>
          </p:cNvSpPr>
          <p:nvPr>
            <p:ph sz="half" idx="11"/>
          </p:nvPr>
        </p:nvSpPr>
        <p:spPr>
          <a:xfrm>
            <a:off x="4679823" y="672811"/>
            <a:ext cx="2027954" cy="2964404"/>
          </a:xfrm>
          <a:solidFill>
            <a:schemeClr val="bg1">
              <a:lumMod val="95000"/>
            </a:schemeClr>
          </a:solidFill>
        </p:spPr>
        <p:txBody>
          <a:bodyPr/>
          <a:lstStyle/>
          <a:p>
            <a:pPr marL="175022" indent="-90488" defTabSz="685800" fontAlgn="base">
              <a:spcBef>
                <a:spcPts val="225"/>
              </a:spcBef>
              <a:spcAft>
                <a:spcPts val="450"/>
              </a:spcAft>
              <a:buClr>
                <a:srgbClr val="00529B"/>
              </a:buClr>
              <a:buNone/>
              <a:defRPr/>
            </a:pPr>
            <a:r>
              <a:rPr lang="en-US" sz="788" b="1" dirty="0">
                <a:solidFill>
                  <a:srgbClr val="00B0F0"/>
                </a:solidFill>
                <a:highlight>
                  <a:srgbClr val="000080"/>
                </a:highlight>
              </a:rPr>
              <a:t> </a:t>
            </a:r>
            <a:r>
              <a:rPr lang="en-US" sz="900" b="1" dirty="0">
                <a:solidFill>
                  <a:srgbClr val="00B0F0"/>
                </a:solidFill>
              </a:rPr>
              <a:t>SECURITY &amp; RISK MANAGEMENT</a:t>
            </a:r>
            <a:endParaRPr lang="en-US" sz="900" b="1" dirty="0">
              <a:solidFill>
                <a:srgbClr val="00B0F0"/>
              </a:solidFill>
              <a:hlinkClick r:id="" action="ppaction://noaction">
                <a:extLst>
                  <a:ext uri="{A12FA001-AC4F-418D-AE19-62706E023703}">
                    <ahyp:hlinkClr xmlns:ahyp="http://schemas.microsoft.com/office/drawing/2018/hyperlinkcolor" val="tx"/>
                  </a:ext>
                </a:extLst>
              </a:hlinkClick>
            </a:endParaRPr>
          </a:p>
          <a:p>
            <a:pPr marL="175022" indent="-90488" defTabSz="342900" fontAlgn="base">
              <a:spcBef>
                <a:spcPts val="225"/>
              </a:spcBef>
              <a:buClr>
                <a:srgbClr val="00529B"/>
              </a:buClr>
              <a:buNone/>
              <a:defRPr/>
            </a:pPr>
            <a:r>
              <a:rPr lang="en-US" sz="788" b="1" dirty="0">
                <a:solidFill>
                  <a:srgbClr val="FF540A"/>
                </a:solidFill>
                <a:hlinkClick r:id="rId10">
                  <a:extLst>
                    <a:ext uri="{A12FA001-AC4F-418D-AE19-62706E023703}">
                      <ahyp:hlinkClr xmlns:ahyp="http://schemas.microsoft.com/office/drawing/2018/hyperlinkcolor" val="tx"/>
                    </a:ext>
                  </a:extLst>
                </a:hlinkClick>
              </a:rPr>
              <a:t>Identity &amp; Access Management</a:t>
            </a:r>
            <a:endParaRPr lang="en-US" sz="788" b="1" dirty="0">
              <a:solidFill>
                <a:srgbClr val="FF540A"/>
              </a:solidFill>
            </a:endParaRPr>
          </a:p>
          <a:p>
            <a:pPr marL="175022" lvl="1" indent="-90488" defTabSz="342900" fontAlgn="base">
              <a:spcBef>
                <a:spcPts val="225"/>
              </a:spcBef>
              <a:buClr>
                <a:prstClr val="black"/>
              </a:buClr>
              <a:buFont typeface="Arial" charset="0"/>
              <a:buChar char="-"/>
              <a:defRPr/>
            </a:pPr>
            <a:r>
              <a:rPr lang="en-US" sz="675" dirty="0">
                <a:solidFill>
                  <a:srgbClr val="002856"/>
                </a:solidFill>
              </a:rPr>
              <a:t>Architecting IAM</a:t>
            </a:r>
          </a:p>
          <a:p>
            <a:pPr marL="175022" lvl="1" indent="-90488" defTabSz="342900" fontAlgn="base">
              <a:spcBef>
                <a:spcPts val="225"/>
              </a:spcBef>
              <a:buClr>
                <a:prstClr val="black"/>
              </a:buClr>
              <a:buFont typeface="Arial" charset="0"/>
              <a:buChar char="-"/>
              <a:defRPr/>
            </a:pPr>
            <a:r>
              <a:rPr lang="en-US" sz="675" dirty="0">
                <a:solidFill>
                  <a:srgbClr val="002856"/>
                </a:solidFill>
              </a:rPr>
              <a:t>Authenticating and Authorizing Humans and Machines</a:t>
            </a:r>
          </a:p>
          <a:p>
            <a:pPr marL="175022" lvl="1" indent="-90488" defTabSz="342900" fontAlgn="base">
              <a:spcBef>
                <a:spcPts val="225"/>
              </a:spcBef>
              <a:buClr>
                <a:prstClr val="black"/>
              </a:buClr>
              <a:buFont typeface="Arial" charset="0"/>
              <a:buChar char="-"/>
              <a:defRPr/>
            </a:pPr>
            <a:r>
              <a:rPr lang="en-US" sz="675" dirty="0">
                <a:solidFill>
                  <a:srgbClr val="002856"/>
                </a:solidFill>
              </a:rPr>
              <a:t>Managing Identities, Privileges, Relationships, and Access Rights</a:t>
            </a:r>
          </a:p>
          <a:p>
            <a:pPr marL="175022" lvl="1" indent="-90488" defTabSz="342900" fontAlgn="base">
              <a:spcBef>
                <a:spcPts val="225"/>
              </a:spcBef>
              <a:buClr>
                <a:prstClr val="black"/>
              </a:buClr>
              <a:buFont typeface="Arial" charset="0"/>
              <a:buChar char="-"/>
              <a:defRPr/>
            </a:pPr>
            <a:endParaRPr lang="en-US" sz="675" dirty="0">
              <a:solidFill>
                <a:srgbClr val="002856"/>
              </a:solidFill>
            </a:endParaRPr>
          </a:p>
          <a:p>
            <a:pPr marL="175022" indent="-90488" defTabSz="342900" fontAlgn="base">
              <a:spcBef>
                <a:spcPts val="225"/>
              </a:spcBef>
              <a:buClr>
                <a:srgbClr val="00529B"/>
              </a:buClr>
              <a:buNone/>
              <a:defRPr/>
            </a:pPr>
            <a:r>
              <a:rPr lang="en-US" sz="788" b="1" dirty="0">
                <a:solidFill>
                  <a:srgbClr val="FF540A"/>
                </a:solidFill>
                <a:hlinkClick r:id="rId11">
                  <a:extLst>
                    <a:ext uri="{A12FA001-AC4F-418D-AE19-62706E023703}">
                      <ahyp:hlinkClr xmlns:ahyp="http://schemas.microsoft.com/office/drawing/2018/hyperlinkcolor" val="tx"/>
                    </a:ext>
                  </a:extLst>
                </a:hlinkClick>
              </a:rPr>
              <a:t>Security Technology &amp; Infrastructure</a:t>
            </a:r>
            <a:endParaRPr lang="en-US" sz="788" b="1" dirty="0">
              <a:solidFill>
                <a:srgbClr val="FF540A"/>
              </a:solidFill>
            </a:endParaRPr>
          </a:p>
          <a:p>
            <a:pPr marL="175022" lvl="1" indent="-90488" defTabSz="342900" fontAlgn="base">
              <a:spcBef>
                <a:spcPts val="225"/>
              </a:spcBef>
              <a:buClr>
                <a:prstClr val="black"/>
              </a:buClr>
              <a:buFont typeface="Arial" charset="0"/>
              <a:buChar char="-"/>
              <a:defRPr/>
            </a:pPr>
            <a:r>
              <a:rPr lang="en-US" sz="675" dirty="0">
                <a:solidFill>
                  <a:srgbClr val="002856"/>
                </a:solidFill>
              </a:rPr>
              <a:t>Security Strategy and Architecture</a:t>
            </a:r>
          </a:p>
          <a:p>
            <a:pPr marL="175022" lvl="1" indent="-90488" defTabSz="342900" fontAlgn="base">
              <a:spcBef>
                <a:spcPts val="225"/>
              </a:spcBef>
              <a:buClr>
                <a:prstClr val="black"/>
              </a:buClr>
              <a:buFont typeface="Arial" charset="0"/>
              <a:buChar char="-"/>
              <a:defRPr/>
            </a:pPr>
            <a:r>
              <a:rPr lang="en-US" sz="675" dirty="0">
                <a:solidFill>
                  <a:srgbClr val="002856"/>
                </a:solidFill>
              </a:rPr>
              <a:t>Application Security </a:t>
            </a:r>
          </a:p>
          <a:p>
            <a:pPr marL="175022" lvl="1" indent="-90488" defTabSz="342900" fontAlgn="base">
              <a:spcBef>
                <a:spcPts val="225"/>
              </a:spcBef>
              <a:buClr>
                <a:prstClr val="black"/>
              </a:buClr>
              <a:buFont typeface="Arial" charset="0"/>
              <a:buChar char="-"/>
              <a:defRPr/>
            </a:pPr>
            <a:r>
              <a:rPr lang="en-US" sz="675" dirty="0">
                <a:solidFill>
                  <a:srgbClr val="002856"/>
                </a:solidFill>
              </a:rPr>
              <a:t>Cloud and Infrastructure Security</a:t>
            </a:r>
          </a:p>
          <a:p>
            <a:pPr marL="175022" lvl="1" indent="-90488" defTabSz="342900" fontAlgn="base">
              <a:spcBef>
                <a:spcPts val="225"/>
              </a:spcBef>
              <a:buClr>
                <a:prstClr val="black"/>
              </a:buClr>
              <a:buFont typeface="Arial" charset="0"/>
              <a:buChar char="-"/>
              <a:defRPr/>
            </a:pPr>
            <a:r>
              <a:rPr lang="en-US" sz="675" dirty="0">
                <a:solidFill>
                  <a:srgbClr val="002856"/>
                </a:solidFill>
              </a:rPr>
              <a:t>Data Security</a:t>
            </a:r>
          </a:p>
          <a:p>
            <a:pPr marL="175022" lvl="1" indent="-90488" defTabSz="342900" fontAlgn="base">
              <a:spcBef>
                <a:spcPts val="225"/>
              </a:spcBef>
              <a:buClr>
                <a:prstClr val="black"/>
              </a:buClr>
              <a:buFont typeface="Arial" charset="0"/>
              <a:buChar char="-"/>
              <a:defRPr/>
            </a:pPr>
            <a:r>
              <a:rPr lang="en-US" sz="675" dirty="0">
                <a:solidFill>
                  <a:srgbClr val="002856"/>
                </a:solidFill>
              </a:rPr>
              <a:t>Endpoint Security</a:t>
            </a:r>
          </a:p>
          <a:p>
            <a:pPr marL="175022" lvl="1" indent="-90488" defTabSz="342900" fontAlgn="base">
              <a:spcBef>
                <a:spcPts val="225"/>
              </a:spcBef>
              <a:buClr>
                <a:prstClr val="black"/>
              </a:buClr>
              <a:buFont typeface="Arial" charset="0"/>
              <a:buChar char="-"/>
              <a:defRPr/>
            </a:pPr>
            <a:r>
              <a:rPr lang="en-US" sz="675" dirty="0">
                <a:solidFill>
                  <a:srgbClr val="002856"/>
                </a:solidFill>
              </a:rPr>
              <a:t>Network Security</a:t>
            </a:r>
          </a:p>
          <a:p>
            <a:pPr marL="175022" lvl="1" indent="-90488" defTabSz="342900" fontAlgn="base">
              <a:spcBef>
                <a:spcPts val="225"/>
              </a:spcBef>
              <a:buClr>
                <a:prstClr val="black"/>
              </a:buClr>
              <a:buFont typeface="Arial" charset="0"/>
              <a:buChar char="-"/>
              <a:defRPr/>
            </a:pPr>
            <a:r>
              <a:rPr lang="en-US" sz="675" dirty="0">
                <a:solidFill>
                  <a:srgbClr val="002856"/>
                </a:solidFill>
              </a:rPr>
              <a:t>Ransomware</a:t>
            </a:r>
          </a:p>
          <a:p>
            <a:pPr marL="175022" lvl="1" indent="-90488" defTabSz="342900" fontAlgn="base">
              <a:spcBef>
                <a:spcPts val="225"/>
              </a:spcBef>
              <a:buClr>
                <a:prstClr val="black"/>
              </a:buClr>
              <a:buFont typeface="Arial" charset="0"/>
              <a:buChar char="-"/>
              <a:defRPr/>
            </a:pPr>
            <a:r>
              <a:rPr lang="en-US" sz="675" dirty="0">
                <a:solidFill>
                  <a:srgbClr val="002856"/>
                </a:solidFill>
              </a:rPr>
              <a:t>Zero Trust Architecture</a:t>
            </a:r>
          </a:p>
          <a:p>
            <a:pPr marL="175022" lvl="1" indent="-90488" defTabSz="342900" fontAlgn="base">
              <a:spcBef>
                <a:spcPts val="225"/>
              </a:spcBef>
              <a:buClr>
                <a:prstClr val="black"/>
              </a:buClr>
              <a:buFont typeface="Arial" charset="0"/>
              <a:buChar char="-"/>
              <a:defRPr/>
            </a:pPr>
            <a:endParaRPr lang="en-US" sz="675" dirty="0">
              <a:solidFill>
                <a:srgbClr val="002856"/>
              </a:solidFill>
            </a:endParaRPr>
          </a:p>
          <a:p>
            <a:pPr marL="175022" indent="-90488" defTabSz="685800" fontAlgn="base">
              <a:spcBef>
                <a:spcPts val="225"/>
              </a:spcBef>
              <a:buClr>
                <a:srgbClr val="00529B"/>
              </a:buClr>
              <a:buNone/>
              <a:defRPr/>
            </a:pPr>
            <a:r>
              <a:rPr lang="en-US" sz="788" b="1" dirty="0">
                <a:solidFill>
                  <a:srgbClr val="FF540A"/>
                </a:solidFill>
                <a:hlinkClick r:id="rId12">
                  <a:extLst>
                    <a:ext uri="{A12FA001-AC4F-418D-AE19-62706E023703}">
                      <ahyp:hlinkClr xmlns:ahyp="http://schemas.microsoft.com/office/drawing/2018/hyperlinkcolor" val="tx"/>
                    </a:ext>
                  </a:extLst>
                </a:hlinkClick>
              </a:rPr>
              <a:t>Security Operations</a:t>
            </a:r>
            <a:endParaRPr lang="en-US" sz="788" b="1" dirty="0">
              <a:solidFill>
                <a:srgbClr val="FF540A"/>
              </a:solidFill>
            </a:endParaRPr>
          </a:p>
          <a:p>
            <a:pPr marL="175022" lvl="1" indent="-90488" defTabSz="342900" fontAlgn="base">
              <a:spcBef>
                <a:spcPts val="225"/>
              </a:spcBef>
              <a:buClr>
                <a:prstClr val="black"/>
              </a:buClr>
              <a:buFont typeface="Arial" charset="0"/>
              <a:buChar char="-"/>
              <a:defRPr/>
            </a:pPr>
            <a:r>
              <a:rPr lang="en-US" sz="675" dirty="0">
                <a:solidFill>
                  <a:srgbClr val="002856"/>
                </a:solidFill>
              </a:rPr>
              <a:t>Security Monitoring and Incident Response</a:t>
            </a:r>
          </a:p>
          <a:p>
            <a:pPr marL="175022" lvl="1" indent="-90488" defTabSz="342900" fontAlgn="base">
              <a:spcBef>
                <a:spcPts val="225"/>
              </a:spcBef>
              <a:buClr>
                <a:prstClr val="black"/>
              </a:buClr>
              <a:buFont typeface="Arial" charset="0"/>
              <a:buChar char="-"/>
              <a:defRPr/>
            </a:pPr>
            <a:r>
              <a:rPr lang="en-US" sz="675" dirty="0">
                <a:solidFill>
                  <a:srgbClr val="002856"/>
                </a:solidFill>
              </a:rPr>
              <a:t>Vulnerability Management and Controls Validation</a:t>
            </a:r>
          </a:p>
          <a:p>
            <a:endParaRPr lang="en-US" dirty="0"/>
          </a:p>
        </p:txBody>
      </p:sp>
      <p:sp>
        <p:nvSpPr>
          <p:cNvPr id="7" name="Plassholder for innhold 2">
            <a:extLst>
              <a:ext uri="{FF2B5EF4-FFF2-40B4-BE49-F238E27FC236}">
                <a16:creationId xmlns:a16="http://schemas.microsoft.com/office/drawing/2014/main" id="{CFDE99F2-966A-506C-80A4-021F0EA70482}"/>
              </a:ext>
            </a:extLst>
          </p:cNvPr>
          <p:cNvSpPr txBox="1">
            <a:spLocks/>
          </p:cNvSpPr>
          <p:nvPr/>
        </p:nvSpPr>
        <p:spPr>
          <a:xfrm>
            <a:off x="342900" y="3699265"/>
            <a:ext cx="6364877" cy="1238795"/>
          </a:xfrm>
          <a:prstGeom prst="rect">
            <a:avLst/>
          </a:prstGeom>
          <a:solidFill>
            <a:schemeClr val="bg1">
              <a:lumMod val="95000"/>
            </a:schemeClr>
          </a:solidFill>
        </p:spPr>
        <p:txBody>
          <a:bodyPr vert="horz" lIns="0" tIns="0" rIns="0" bIns="0" numCol="2" rtlCol="0">
            <a:noAutofit/>
          </a:bodyPr>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0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0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5022" indent="-90488" defTabSz="685800" fontAlgn="base">
              <a:lnSpc>
                <a:spcPct val="100000"/>
              </a:lnSpc>
              <a:spcBef>
                <a:spcPts val="225"/>
              </a:spcBef>
              <a:spcAft>
                <a:spcPts val="450"/>
              </a:spcAft>
              <a:buClr>
                <a:srgbClr val="00529B"/>
              </a:buClr>
              <a:buSzTx/>
              <a:buNone/>
              <a:defRPr/>
            </a:pPr>
            <a:r>
              <a:rPr lang="en-US" sz="900" b="1" dirty="0">
                <a:solidFill>
                  <a:srgbClr val="00B0F0"/>
                </a:solidFill>
                <a:latin typeface="Arial" panose="020B0604020202020204"/>
              </a:rPr>
              <a:t> DIGITAL WORKPLACE &amp; CRM</a:t>
            </a:r>
            <a:endParaRPr lang="en-US" sz="900" b="1" u="sng" dirty="0">
              <a:solidFill>
                <a:srgbClr val="00B0F0"/>
              </a:solidFill>
              <a:latin typeface="Arial" panose="020B0604020202020204"/>
            </a:endParaRPr>
          </a:p>
          <a:p>
            <a:pPr marL="175022" indent="-90488" defTabSz="685800" fontAlgn="base">
              <a:lnSpc>
                <a:spcPct val="100000"/>
              </a:lnSpc>
              <a:spcBef>
                <a:spcPts val="225"/>
              </a:spcBef>
              <a:buClr>
                <a:srgbClr val="00529B"/>
              </a:buClr>
              <a:buSzTx/>
              <a:buNone/>
              <a:defRPr/>
            </a:pPr>
            <a:r>
              <a:rPr lang="en-US" sz="788" b="1" u="sng" dirty="0">
                <a:solidFill>
                  <a:srgbClr val="00B050"/>
                </a:solidFill>
                <a:latin typeface="Arial" panose="020B0604020202020204"/>
                <a:hlinkClick r:id="rId13">
                  <a:extLst>
                    <a:ext uri="{A12FA001-AC4F-418D-AE19-62706E023703}">
                      <ahyp:hlinkClr xmlns:ahyp="http://schemas.microsoft.com/office/drawing/2018/hyperlinkcolor" val="tx"/>
                    </a:ext>
                  </a:extLst>
                </a:hlinkClick>
              </a:rPr>
              <a:t>Digital Workplace</a:t>
            </a:r>
            <a:endParaRPr lang="en-US" sz="675" dirty="0">
              <a:solidFill>
                <a:srgbClr val="00B050"/>
              </a:solidFill>
              <a:latin typeface="Arial" panose="020B0604020202020204"/>
            </a:endParaRPr>
          </a:p>
          <a:p>
            <a:pPr marL="175022" lvl="1" indent="-90488" defTabSz="685800" fontAlgn="base">
              <a:lnSpc>
                <a:spcPct val="100000"/>
              </a:lnSpc>
              <a:spcBef>
                <a:spcPts val="225"/>
              </a:spcBef>
              <a:buClr>
                <a:prstClr val="black"/>
              </a:buClr>
              <a:buSzTx/>
              <a:buFont typeface="Arial" charset="0"/>
              <a:buChar char="-"/>
              <a:defRPr/>
            </a:pPr>
            <a:r>
              <a:rPr lang="en-US" sz="675" dirty="0">
                <a:solidFill>
                  <a:srgbClr val="002856"/>
                </a:solidFill>
                <a:latin typeface="Arial" panose="020B0604020202020204"/>
              </a:rPr>
              <a:t>Microsoft 365, Exchange Online, SharePoint, Teams, OneDrive, Sync/Async Collaboration Solutions</a:t>
            </a:r>
          </a:p>
          <a:p>
            <a:pPr marL="175022" lvl="1" indent="-90488" defTabSz="685800" fontAlgn="base">
              <a:lnSpc>
                <a:spcPct val="100000"/>
              </a:lnSpc>
              <a:spcBef>
                <a:spcPts val="225"/>
              </a:spcBef>
              <a:buClr>
                <a:prstClr val="black"/>
              </a:buClr>
              <a:buSzTx/>
              <a:buFont typeface="Arial" charset="0"/>
              <a:buChar char="-"/>
              <a:defRPr/>
            </a:pPr>
            <a:r>
              <a:rPr lang="en-US" sz="675" dirty="0">
                <a:solidFill>
                  <a:srgbClr val="002856"/>
                </a:solidFill>
                <a:latin typeface="Arial" panose="020B0604020202020204"/>
              </a:rPr>
              <a:t>Knowledge Mgmt., Content Mgmt. Enterprise Search</a:t>
            </a:r>
          </a:p>
          <a:p>
            <a:pPr marL="175022" lvl="1" indent="-90488" defTabSz="685800" fontAlgn="base">
              <a:lnSpc>
                <a:spcPct val="100000"/>
              </a:lnSpc>
              <a:spcBef>
                <a:spcPts val="225"/>
              </a:spcBef>
              <a:buClr>
                <a:prstClr val="black"/>
              </a:buClr>
              <a:buSzTx/>
              <a:buFont typeface="Arial" charset="0"/>
              <a:buChar char="-"/>
              <a:defRPr/>
            </a:pPr>
            <a:r>
              <a:rPr lang="en-US" sz="675" dirty="0">
                <a:solidFill>
                  <a:srgbClr val="002856"/>
                </a:solidFill>
                <a:latin typeface="Arial" panose="020B0604020202020204"/>
              </a:rPr>
              <a:t>Endpoint Mgmt., Virtual Desktop, DaaS</a:t>
            </a:r>
          </a:p>
          <a:p>
            <a:pPr marL="175022" lvl="1" indent="-90488" defTabSz="685800" fontAlgn="base">
              <a:lnSpc>
                <a:spcPct val="100000"/>
              </a:lnSpc>
              <a:spcBef>
                <a:spcPts val="225"/>
              </a:spcBef>
              <a:buClr>
                <a:prstClr val="black"/>
              </a:buClr>
              <a:buSzTx/>
              <a:buFont typeface="Arial" charset="0"/>
              <a:buChar char="-"/>
              <a:defRPr/>
            </a:pPr>
            <a:r>
              <a:rPr lang="en-US" sz="675" dirty="0">
                <a:solidFill>
                  <a:srgbClr val="002856"/>
                </a:solidFill>
                <a:latin typeface="Arial" panose="020B0604020202020204"/>
              </a:rPr>
              <a:t>Unified Communications, Contact Center, Meetings, Telephony</a:t>
            </a:r>
            <a:endParaRPr lang="en-US" sz="1050" dirty="0">
              <a:solidFill>
                <a:srgbClr val="002856"/>
              </a:solidFill>
              <a:latin typeface="Arial" panose="020B0604020202020204"/>
            </a:endParaRPr>
          </a:p>
          <a:p>
            <a:pPr marL="84535" lvl="1" indent="0" defTabSz="685800" fontAlgn="base">
              <a:lnSpc>
                <a:spcPct val="100000"/>
              </a:lnSpc>
              <a:spcBef>
                <a:spcPts val="225"/>
              </a:spcBef>
              <a:buClr>
                <a:prstClr val="black"/>
              </a:buClr>
              <a:buSzTx/>
              <a:buNone/>
              <a:defRPr/>
            </a:pPr>
            <a:endParaRPr lang="en-US" sz="1050" dirty="0">
              <a:solidFill>
                <a:srgbClr val="002856"/>
              </a:solidFill>
              <a:latin typeface="Arial" panose="020B0604020202020204"/>
            </a:endParaRPr>
          </a:p>
          <a:p>
            <a:pPr marL="175022" indent="-90488" defTabSz="685800" fontAlgn="base">
              <a:lnSpc>
                <a:spcPct val="100000"/>
              </a:lnSpc>
              <a:spcBef>
                <a:spcPts val="225"/>
              </a:spcBef>
              <a:buClr>
                <a:srgbClr val="00529B"/>
              </a:buClr>
              <a:buSzTx/>
              <a:buNone/>
              <a:defRPr/>
            </a:pPr>
            <a:endParaRPr lang="en-US" sz="525" b="1" dirty="0">
              <a:solidFill>
                <a:srgbClr val="06C4B0"/>
              </a:solidFill>
              <a:latin typeface="Arial" panose="020B0604020202020204"/>
              <a:hlinkClick r:id="" action="ppaction://noaction">
                <a:extLst>
                  <a:ext uri="{A12FA001-AC4F-418D-AE19-62706E023703}">
                    <ahyp:hlinkClr xmlns:ahyp="http://schemas.microsoft.com/office/drawing/2018/hyperlinkcolor" val="tx"/>
                  </a:ext>
                </a:extLst>
              </a:hlinkClick>
            </a:endParaRPr>
          </a:p>
          <a:p>
            <a:pPr marL="175022" indent="-90488" defTabSz="685800" fontAlgn="base">
              <a:lnSpc>
                <a:spcPct val="100000"/>
              </a:lnSpc>
              <a:spcBef>
                <a:spcPts val="225"/>
              </a:spcBef>
              <a:buClr>
                <a:srgbClr val="00529B"/>
              </a:buClr>
              <a:buSzTx/>
              <a:buNone/>
              <a:defRPr/>
            </a:pPr>
            <a:endParaRPr lang="en-US" sz="525" b="1" dirty="0">
              <a:solidFill>
                <a:srgbClr val="06C4B0"/>
              </a:solidFill>
              <a:latin typeface="Arial" panose="020B0604020202020204"/>
              <a:hlinkClick r:id="" action="ppaction://noaction">
                <a:extLst>
                  <a:ext uri="{A12FA001-AC4F-418D-AE19-62706E023703}">
                    <ahyp:hlinkClr xmlns:ahyp="http://schemas.microsoft.com/office/drawing/2018/hyperlinkcolor" val="tx"/>
                  </a:ext>
                </a:extLst>
              </a:hlinkClick>
            </a:endParaRPr>
          </a:p>
          <a:p>
            <a:pPr marL="175022" indent="-90488" defTabSz="685800" fontAlgn="base">
              <a:lnSpc>
                <a:spcPct val="100000"/>
              </a:lnSpc>
              <a:spcBef>
                <a:spcPts val="225"/>
              </a:spcBef>
              <a:buClr>
                <a:srgbClr val="00529B"/>
              </a:buClr>
              <a:buSzTx/>
              <a:buNone/>
              <a:defRPr/>
            </a:pPr>
            <a:r>
              <a:rPr lang="en-US" sz="788" b="1" dirty="0">
                <a:solidFill>
                  <a:srgbClr val="00B050"/>
                </a:solidFill>
                <a:latin typeface="Arial" panose="020B0604020202020204"/>
                <a:hlinkClick r:id="rId13">
                  <a:extLst>
                    <a:ext uri="{A12FA001-AC4F-418D-AE19-62706E023703}">
                      <ahyp:hlinkClr xmlns:ahyp="http://schemas.microsoft.com/office/drawing/2018/hyperlinkcolor" val="tx"/>
                    </a:ext>
                  </a:extLst>
                </a:hlinkClick>
              </a:rPr>
              <a:t>Collaboration &amp; End-User Technologies</a:t>
            </a:r>
            <a:endParaRPr lang="en-US" sz="788" b="1" dirty="0">
              <a:solidFill>
                <a:srgbClr val="00B050"/>
              </a:solidFill>
              <a:latin typeface="Arial" panose="020B0604020202020204"/>
            </a:endParaRPr>
          </a:p>
          <a:p>
            <a:pPr marL="175500" lvl="2" indent="-91800" defTabSz="685800" fontAlgn="base">
              <a:lnSpc>
                <a:spcPct val="100000"/>
              </a:lnSpc>
              <a:spcBef>
                <a:spcPts val="150"/>
              </a:spcBef>
              <a:buClr>
                <a:prstClr val="black"/>
              </a:buClr>
              <a:buSzTx/>
              <a:buFont typeface="Systemfont normal"/>
              <a:buChar char="−"/>
              <a:defRPr/>
            </a:pPr>
            <a:r>
              <a:rPr lang="en-US" sz="675" dirty="0">
                <a:solidFill>
                  <a:srgbClr val="252423"/>
                </a:solidFill>
                <a:latin typeface="Arial" panose="020B0604020202020204"/>
              </a:rPr>
              <a:t>CRM and CX Architecture Approaches</a:t>
            </a:r>
          </a:p>
          <a:p>
            <a:pPr marL="175500" lvl="2" indent="-91800" defTabSz="685800" fontAlgn="base">
              <a:lnSpc>
                <a:spcPct val="100000"/>
              </a:lnSpc>
              <a:spcBef>
                <a:spcPts val="150"/>
              </a:spcBef>
              <a:buClr>
                <a:prstClr val="black"/>
              </a:buClr>
              <a:buSzTx/>
              <a:buFont typeface="Systemfont normal"/>
              <a:buChar char="−"/>
              <a:defRPr/>
            </a:pPr>
            <a:r>
              <a:rPr lang="en-US" sz="675" dirty="0">
                <a:solidFill>
                  <a:srgbClr val="252423"/>
                </a:solidFill>
                <a:latin typeface="Arial" panose="020B0604020202020204"/>
              </a:rPr>
              <a:t>Customer Data Management Technologies</a:t>
            </a:r>
          </a:p>
          <a:p>
            <a:pPr marL="175500" lvl="2" indent="-91800" defTabSz="685800" fontAlgn="base">
              <a:lnSpc>
                <a:spcPct val="100000"/>
              </a:lnSpc>
              <a:spcBef>
                <a:spcPts val="150"/>
              </a:spcBef>
              <a:buClr>
                <a:prstClr val="black"/>
              </a:buClr>
              <a:buSzTx/>
              <a:buFont typeface="Systemfont normal"/>
              <a:buChar char="−"/>
              <a:defRPr/>
            </a:pPr>
            <a:r>
              <a:rPr lang="en-US" sz="675" dirty="0">
                <a:solidFill>
                  <a:srgbClr val="252423"/>
                </a:solidFill>
                <a:latin typeface="Arial" panose="020B0604020202020204"/>
              </a:rPr>
              <a:t>Customer Engagement Technologies</a:t>
            </a:r>
          </a:p>
          <a:p>
            <a:pPr marL="175500" lvl="2" indent="-91800" defTabSz="685800" fontAlgn="base">
              <a:lnSpc>
                <a:spcPct val="100000"/>
              </a:lnSpc>
              <a:spcBef>
                <a:spcPts val="150"/>
              </a:spcBef>
              <a:buClr>
                <a:prstClr val="black"/>
              </a:buClr>
              <a:buSzTx/>
              <a:buFont typeface="Systemfont normal"/>
              <a:buChar char="−"/>
              <a:defRPr/>
            </a:pPr>
            <a:r>
              <a:rPr lang="en-US" sz="675" dirty="0">
                <a:solidFill>
                  <a:srgbClr val="252423"/>
                </a:solidFill>
                <a:latin typeface="Arial" panose="020B0604020202020204"/>
              </a:rPr>
              <a:t>Salesforce CRM Technologies</a:t>
            </a:r>
          </a:p>
          <a:p>
            <a:pPr marL="175500" lvl="2" indent="-91800" defTabSz="685800" fontAlgn="base">
              <a:lnSpc>
                <a:spcPct val="100000"/>
              </a:lnSpc>
              <a:spcBef>
                <a:spcPts val="150"/>
              </a:spcBef>
              <a:buClr>
                <a:prstClr val="black"/>
              </a:buClr>
              <a:buSzTx/>
              <a:buFont typeface="Systemfont normal"/>
              <a:buChar char="−"/>
              <a:defRPr/>
            </a:pPr>
            <a:r>
              <a:rPr lang="en-US" sz="675" dirty="0">
                <a:solidFill>
                  <a:srgbClr val="252423"/>
                </a:solidFill>
                <a:latin typeface="Arial" panose="020B0604020202020204"/>
              </a:rPr>
              <a:t>Modernizing Enterprise Apps for Digital </a:t>
            </a:r>
          </a:p>
          <a:p>
            <a:pPr marL="175500" lvl="2" indent="-91800" defTabSz="685800" fontAlgn="base">
              <a:lnSpc>
                <a:spcPct val="100000"/>
              </a:lnSpc>
              <a:spcBef>
                <a:spcPts val="150"/>
              </a:spcBef>
              <a:buClr>
                <a:prstClr val="black"/>
              </a:buClr>
              <a:buSzTx/>
              <a:buFont typeface="Systemfont normal"/>
              <a:buChar char="−"/>
              <a:defRPr/>
            </a:pPr>
            <a:r>
              <a:rPr lang="en-US" sz="675" dirty="0">
                <a:solidFill>
                  <a:srgbClr val="252423"/>
                </a:solidFill>
                <a:latin typeface="Arial" panose="020B0604020202020204"/>
              </a:rPr>
              <a:t>SaaS Adoption and Evaluation</a:t>
            </a:r>
          </a:p>
        </p:txBody>
      </p:sp>
      <p:sp>
        <p:nvSpPr>
          <p:cNvPr id="9" name="Title 8">
            <a:extLst>
              <a:ext uri="{FF2B5EF4-FFF2-40B4-BE49-F238E27FC236}">
                <a16:creationId xmlns:a16="http://schemas.microsoft.com/office/drawing/2014/main" id="{F17A69D6-314E-43B2-1F6F-E8F880413393}"/>
              </a:ext>
            </a:extLst>
          </p:cNvPr>
          <p:cNvSpPr>
            <a:spLocks noGrp="1"/>
          </p:cNvSpPr>
          <p:nvPr>
            <p:ph type="title"/>
          </p:nvPr>
        </p:nvSpPr>
        <p:spPr>
          <a:xfrm>
            <a:off x="233934" y="162675"/>
            <a:ext cx="8455914" cy="338423"/>
          </a:xfrm>
        </p:spPr>
        <p:txBody>
          <a:bodyPr>
            <a:normAutofit fontScale="90000"/>
          </a:bodyPr>
          <a:lstStyle/>
          <a:p>
            <a:r>
              <a:rPr lang="en-US" dirty="0"/>
              <a:t>GTP Deep Coverage Areas</a:t>
            </a:r>
          </a:p>
        </p:txBody>
      </p:sp>
      <p:sp>
        <p:nvSpPr>
          <p:cNvPr id="2" name="TextBox 1">
            <a:extLst>
              <a:ext uri="{FF2B5EF4-FFF2-40B4-BE49-F238E27FC236}">
                <a16:creationId xmlns:a16="http://schemas.microsoft.com/office/drawing/2014/main" id="{76BA5000-CBCD-7076-0609-ACC1CA4EB8DC}"/>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30417278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935A54F6-FE45-D8B4-7C96-82DDB5BB2F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6023" y="1362762"/>
            <a:ext cx="1576879" cy="311599"/>
          </a:xfrm>
          <a:prstGeom prst="rect">
            <a:avLst/>
          </a:prstGeom>
        </p:spPr>
      </p:pic>
      <p:sp>
        <p:nvSpPr>
          <p:cNvPr id="6" name="TextBox 5">
            <a:extLst>
              <a:ext uri="{FF2B5EF4-FFF2-40B4-BE49-F238E27FC236}">
                <a16:creationId xmlns:a16="http://schemas.microsoft.com/office/drawing/2014/main" id="{C86E8280-BC0D-2A9E-22E5-AFCB562F6560}"/>
              </a:ext>
            </a:extLst>
          </p:cNvPr>
          <p:cNvSpPr txBox="1"/>
          <p:nvPr/>
        </p:nvSpPr>
        <p:spPr>
          <a:xfrm>
            <a:off x="572939" y="1156082"/>
            <a:ext cx="4481979" cy="854080"/>
          </a:xfrm>
          <a:prstGeom prst="rect">
            <a:avLst/>
          </a:prstGeom>
          <a:noFill/>
        </p:spPr>
        <p:txBody>
          <a:bodyPr wrap="square" lIns="0" tIns="34290" rIns="0" bIns="34290" rtlCol="0" anchor="t">
            <a:spAutoFit/>
          </a:bodyPr>
          <a:lstStyle/>
          <a:p>
            <a:pPr defTabSz="685800">
              <a:spcBef>
                <a:spcPts val="450"/>
              </a:spcBef>
              <a:defRPr/>
            </a:pPr>
            <a:r>
              <a:rPr lang="en-US" sz="2550" b="1">
                <a:solidFill>
                  <a:srgbClr val="002856"/>
                </a:solidFill>
                <a:latin typeface="Arial Black" panose="020B0A04020102020204"/>
              </a:rPr>
              <a:t>Build architectures with confidence</a:t>
            </a:r>
          </a:p>
        </p:txBody>
      </p:sp>
      <p:sp>
        <p:nvSpPr>
          <p:cNvPr id="22" name="Rectangle 21">
            <a:extLst>
              <a:ext uri="{FF2B5EF4-FFF2-40B4-BE49-F238E27FC236}">
                <a16:creationId xmlns:a16="http://schemas.microsoft.com/office/drawing/2014/main" id="{F12EABCB-4D29-15B1-FE42-7A6EAF17EA03}"/>
              </a:ext>
            </a:extLst>
          </p:cNvPr>
          <p:cNvSpPr/>
          <p:nvPr/>
        </p:nvSpPr>
        <p:spPr>
          <a:xfrm>
            <a:off x="1" y="2648768"/>
            <a:ext cx="9130446" cy="1025702"/>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a:endParaRPr>
          </a:p>
        </p:txBody>
      </p:sp>
      <p:sp>
        <p:nvSpPr>
          <p:cNvPr id="21" name="TextBox 20">
            <a:extLst>
              <a:ext uri="{FF2B5EF4-FFF2-40B4-BE49-F238E27FC236}">
                <a16:creationId xmlns:a16="http://schemas.microsoft.com/office/drawing/2014/main" id="{58B38C98-6891-82BB-8B9C-88F6D0909F05}"/>
              </a:ext>
            </a:extLst>
          </p:cNvPr>
          <p:cNvSpPr txBox="1"/>
          <p:nvPr/>
        </p:nvSpPr>
        <p:spPr>
          <a:xfrm>
            <a:off x="581814" y="2958632"/>
            <a:ext cx="2941190" cy="548868"/>
          </a:xfrm>
          <a:prstGeom prst="rect">
            <a:avLst/>
          </a:prstGeom>
          <a:noFill/>
        </p:spPr>
        <p:txBody>
          <a:bodyPr wrap="square" lIns="0" tIns="34290" rIns="0" bIns="34290" rtlCol="0" anchor="t">
            <a:spAutoFit/>
          </a:bodyPr>
          <a:lstStyle/>
          <a:p>
            <a:pPr marL="128588" indent="-128588" defTabSz="685800">
              <a:spcBef>
                <a:spcPts val="450"/>
              </a:spcBef>
              <a:buFont typeface="Arial" panose="020B0604020202020204" pitchFamily="34" charset="0"/>
              <a:buChar char="•"/>
              <a:defRPr/>
            </a:pPr>
            <a:r>
              <a:rPr lang="en-US" sz="900" b="1">
                <a:solidFill>
                  <a:srgbClr val="002856"/>
                </a:solidFill>
                <a:latin typeface="Arial" panose="020B0604020202020204"/>
              </a:rPr>
              <a:t>Reference architectures based on Gartner client interactions and best practices</a:t>
            </a:r>
          </a:p>
          <a:p>
            <a:pPr marL="128588" indent="-128588" defTabSz="685800">
              <a:spcBef>
                <a:spcPts val="450"/>
              </a:spcBef>
              <a:buFont typeface="Arial" panose="020B0604020202020204" pitchFamily="34" charset="0"/>
              <a:buChar char="•"/>
              <a:defRPr/>
            </a:pPr>
            <a:r>
              <a:rPr lang="en-US" sz="900" b="1">
                <a:solidFill>
                  <a:schemeClr val="tx2"/>
                </a:solidFill>
                <a:ea typeface="+mn-lt"/>
                <a:cs typeface="+mn-lt"/>
              </a:rPr>
              <a:t>Insights to guide adaption to your environment</a:t>
            </a:r>
            <a:endParaRPr lang="en-US" sz="900" b="1">
              <a:solidFill>
                <a:schemeClr val="tx2"/>
              </a:solidFill>
              <a:latin typeface="Arial" panose="020B0604020202020204"/>
            </a:endParaRPr>
          </a:p>
        </p:txBody>
      </p:sp>
      <p:sp>
        <p:nvSpPr>
          <p:cNvPr id="19" name="Text Placeholder 2">
            <a:extLst>
              <a:ext uri="{FF2B5EF4-FFF2-40B4-BE49-F238E27FC236}">
                <a16:creationId xmlns:a16="http://schemas.microsoft.com/office/drawing/2014/main" id="{F674F27A-5846-5D12-5F0F-1B06BA464AA8}"/>
              </a:ext>
            </a:extLst>
          </p:cNvPr>
          <p:cNvSpPr txBox="1">
            <a:spLocks/>
          </p:cNvSpPr>
          <p:nvPr/>
        </p:nvSpPr>
        <p:spPr>
          <a:xfrm>
            <a:off x="535114" y="2053049"/>
            <a:ext cx="5057978" cy="416928"/>
          </a:xfrm>
          <a:prstGeom prst="rect">
            <a:avLst/>
          </a:prstGeom>
        </p:spPr>
        <p:txBody>
          <a:bodyPr lIns="68580" tIns="34290" rIns="68580" bIns="34290" anchor="t"/>
          <a:lstStyle>
            <a:lvl1pPr marL="246063" indent="-246063"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1pPr>
            <a:lvl2pPr marL="742950" indent="-314325"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2pPr>
            <a:lvl3pPr marL="1174750" indent="-247650" algn="l" defTabSz="914400" rtl="0" eaLnBrk="1" latinLnBrk="0" hangingPunct="1">
              <a:lnSpc>
                <a:spcPct val="90000"/>
              </a:lnSpc>
              <a:spcBef>
                <a:spcPts val="1200"/>
              </a:spcBef>
              <a:spcAft>
                <a:spcPts val="0"/>
              </a:spcAft>
              <a:buSzPct val="100000"/>
              <a:buFont typeface="Arial" panose="020B0604020202020204" pitchFamily="34" charset="0"/>
              <a:buChar char="•"/>
              <a:defRPr sz="2400" kern="1200">
                <a:solidFill>
                  <a:schemeClr val="tx1"/>
                </a:solidFill>
                <a:latin typeface="+mn-lt"/>
                <a:ea typeface="+mn-ea"/>
                <a:cs typeface="+mn-cs"/>
              </a:defRPr>
            </a:lvl3pPr>
            <a:lvl4pPr marL="1674813" indent="-317500" algn="l" defTabSz="914400" rtl="0" eaLnBrk="1" latinLnBrk="0" hangingPunct="1">
              <a:lnSpc>
                <a:spcPct val="90000"/>
              </a:lnSpc>
              <a:spcBef>
                <a:spcPts val="1200"/>
              </a:spcBef>
              <a:spcAft>
                <a:spcPts val="0"/>
              </a:spcAft>
              <a:buSzPct val="100000"/>
              <a:buFont typeface="Arial" panose="020B0604020202020204" pitchFamily="34" charset="0"/>
              <a:buChar char="–"/>
              <a:tabLst/>
              <a:defRPr sz="2400" kern="1200">
                <a:solidFill>
                  <a:schemeClr val="tx1"/>
                </a:solidFill>
                <a:latin typeface="+mn-lt"/>
                <a:ea typeface="+mn-ea"/>
                <a:cs typeface="+mn-cs"/>
              </a:defRPr>
            </a:lvl4pPr>
            <a:lvl5pPr marL="2105025" indent="-247650" algn="l" defTabSz="914400" rtl="0" eaLnBrk="1" latinLnBrk="0" hangingPunct="1">
              <a:lnSpc>
                <a:spcPct val="90000"/>
              </a:lnSpc>
              <a:spcBef>
                <a:spcPts val="1200"/>
              </a:spcBef>
              <a:spcAft>
                <a:spcPts val="0"/>
              </a:spcAft>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25">
                <a:ea typeface="+mj-ea"/>
                <a:cs typeface="+mj-cs"/>
              </a:rPr>
              <a:t>Informed by Gartner’s rigorous research approach and client interactions, yo</a:t>
            </a:r>
            <a:r>
              <a:rPr lang="en-US" sz="1125"/>
              <a:t>ur team now has access to Gartner’s Reference Architecture Resource Center to find the right blueprint for your organization</a:t>
            </a:r>
            <a:endParaRPr lang="en-US" sz="1125">
              <a:solidFill>
                <a:srgbClr val="000000"/>
              </a:solidFill>
              <a:latin typeface="Arial" panose="020B0604020202020204"/>
              <a:cs typeface="Arial"/>
            </a:endParaRPr>
          </a:p>
        </p:txBody>
      </p:sp>
      <p:grpSp>
        <p:nvGrpSpPr>
          <p:cNvPr id="3" name="Group 2">
            <a:extLst>
              <a:ext uri="{FF2B5EF4-FFF2-40B4-BE49-F238E27FC236}">
                <a16:creationId xmlns:a16="http://schemas.microsoft.com/office/drawing/2014/main" id="{9BC697C2-A3EA-6655-18A2-535D1C79F4CC}"/>
              </a:ext>
            </a:extLst>
          </p:cNvPr>
          <p:cNvGrpSpPr/>
          <p:nvPr/>
        </p:nvGrpSpPr>
        <p:grpSpPr>
          <a:xfrm>
            <a:off x="614857" y="3733748"/>
            <a:ext cx="6761948" cy="942693"/>
            <a:chOff x="770822" y="5131760"/>
            <a:chExt cx="9015931" cy="1256924"/>
          </a:xfrm>
        </p:grpSpPr>
        <p:sp>
          <p:nvSpPr>
            <p:cNvPr id="9" name="TextBox 8">
              <a:extLst>
                <a:ext uri="{FF2B5EF4-FFF2-40B4-BE49-F238E27FC236}">
                  <a16:creationId xmlns:a16="http://schemas.microsoft.com/office/drawing/2014/main" id="{CE087866-81C6-F563-AE26-CF417E7DB7AA}"/>
                </a:ext>
              </a:extLst>
            </p:cNvPr>
            <p:cNvSpPr txBox="1"/>
            <p:nvPr/>
          </p:nvSpPr>
          <p:spPr>
            <a:xfrm>
              <a:off x="770823" y="5490744"/>
              <a:ext cx="2683677" cy="677108"/>
            </a:xfrm>
            <a:prstGeom prst="rect">
              <a:avLst/>
            </a:prstGeom>
            <a:noFill/>
          </p:spPr>
          <p:txBody>
            <a:bodyPr wrap="square" lIns="0" rIns="0" rtlCol="0">
              <a:spAutoFit/>
            </a:bodyPr>
            <a:lstStyle/>
            <a:p>
              <a:pPr defTabSz="685800">
                <a:spcBef>
                  <a:spcPts val="450"/>
                </a:spcBef>
                <a:defRPr/>
              </a:pPr>
              <a:r>
                <a:rPr lang="en-US" sz="900"/>
                <a:t>Use these foundational architectures as a starting point to create an architecture specific to your environment</a:t>
              </a:r>
              <a:endParaRPr lang="en-US" sz="900">
                <a:solidFill>
                  <a:prstClr val="black"/>
                </a:solidFill>
                <a:latin typeface="Arial" panose="020B0604020202020204"/>
              </a:endParaRPr>
            </a:p>
          </p:txBody>
        </p:sp>
        <p:sp>
          <p:nvSpPr>
            <p:cNvPr id="11" name="TextBox 10">
              <a:extLst>
                <a:ext uri="{FF2B5EF4-FFF2-40B4-BE49-F238E27FC236}">
                  <a16:creationId xmlns:a16="http://schemas.microsoft.com/office/drawing/2014/main" id="{FB6BAD73-3A7A-5A74-F53C-2A30D3689458}"/>
                </a:ext>
              </a:extLst>
            </p:cNvPr>
            <p:cNvSpPr txBox="1"/>
            <p:nvPr/>
          </p:nvSpPr>
          <p:spPr>
            <a:xfrm>
              <a:off x="3873766" y="5486715"/>
              <a:ext cx="2780376" cy="861775"/>
            </a:xfrm>
            <a:prstGeom prst="rect">
              <a:avLst/>
            </a:prstGeom>
            <a:noFill/>
          </p:spPr>
          <p:txBody>
            <a:bodyPr wrap="square" lIns="0" rIns="0" rtlCol="0">
              <a:spAutoFit/>
            </a:bodyPr>
            <a:lstStyle/>
            <a:p>
              <a:pPr defTabSz="685800">
                <a:spcBef>
                  <a:spcPts val="450"/>
                </a:spcBef>
                <a:defRPr/>
              </a:pPr>
              <a:r>
                <a:rPr lang="en-US" sz="900">
                  <a:solidFill>
                    <a:prstClr val="black"/>
                  </a:solidFill>
                  <a:latin typeface="Arial" panose="020B0604020202020204"/>
                </a:rPr>
                <a:t>Leverage reference architectures across multiple use-cases to build out a comprehensive, cross-domain Enterprise Reference Architecture</a:t>
              </a:r>
            </a:p>
          </p:txBody>
        </p:sp>
        <p:sp>
          <p:nvSpPr>
            <p:cNvPr id="13" name="TextBox 12">
              <a:extLst>
                <a:ext uri="{FF2B5EF4-FFF2-40B4-BE49-F238E27FC236}">
                  <a16:creationId xmlns:a16="http://schemas.microsoft.com/office/drawing/2014/main" id="{CF9F0E63-EE93-5561-220F-ABBFE4567F9A}"/>
                </a:ext>
              </a:extLst>
            </p:cNvPr>
            <p:cNvSpPr txBox="1"/>
            <p:nvPr/>
          </p:nvSpPr>
          <p:spPr>
            <a:xfrm>
              <a:off x="7153684" y="5490744"/>
              <a:ext cx="2633069" cy="677108"/>
            </a:xfrm>
            <a:prstGeom prst="rect">
              <a:avLst/>
            </a:prstGeom>
            <a:noFill/>
          </p:spPr>
          <p:txBody>
            <a:bodyPr wrap="square" lIns="0" rIns="0" rtlCol="0">
              <a:spAutoFit/>
            </a:bodyPr>
            <a:lstStyle/>
            <a:p>
              <a:pPr defTabSz="685800">
                <a:spcBef>
                  <a:spcPts val="450"/>
                </a:spcBef>
                <a:defRPr/>
              </a:pPr>
              <a:r>
                <a:rPr lang="en-US" sz="900">
                  <a:solidFill>
                    <a:prstClr val="black"/>
                  </a:solidFill>
                  <a:latin typeface="Arial" panose="020B0604020202020204"/>
                </a:rPr>
                <a:t>Access architectures and insights based on best practices and Gartner client interactions</a:t>
              </a:r>
            </a:p>
          </p:txBody>
        </p:sp>
        <p:pic>
          <p:nvPicPr>
            <p:cNvPr id="26" name="Graphic 25">
              <a:extLst>
                <a:ext uri="{FF2B5EF4-FFF2-40B4-BE49-F238E27FC236}">
                  <a16:creationId xmlns:a16="http://schemas.microsoft.com/office/drawing/2014/main" id="{4BD433A9-0F24-5FE7-54C1-BB4EB8B11EC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822" y="5135789"/>
              <a:ext cx="318423" cy="318423"/>
            </a:xfrm>
            <a:prstGeom prst="rect">
              <a:avLst/>
            </a:prstGeom>
          </p:spPr>
        </p:pic>
        <p:pic>
          <p:nvPicPr>
            <p:cNvPr id="28" name="Graphic 27">
              <a:extLst>
                <a:ext uri="{FF2B5EF4-FFF2-40B4-BE49-F238E27FC236}">
                  <a16:creationId xmlns:a16="http://schemas.microsoft.com/office/drawing/2014/main" id="{ABF488EE-6ADF-AAFF-46D0-A69077E92B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47074" y="5131760"/>
              <a:ext cx="392295" cy="318423"/>
            </a:xfrm>
            <a:prstGeom prst="rect">
              <a:avLst/>
            </a:prstGeom>
          </p:spPr>
        </p:pic>
        <p:pic>
          <p:nvPicPr>
            <p:cNvPr id="30" name="Graphic 29">
              <a:extLst>
                <a:ext uri="{FF2B5EF4-FFF2-40B4-BE49-F238E27FC236}">
                  <a16:creationId xmlns:a16="http://schemas.microsoft.com/office/drawing/2014/main" id="{C1DFCBF1-FEBD-DBCF-1E69-034B5AD1F9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11087" y="5135789"/>
              <a:ext cx="318423" cy="318423"/>
            </a:xfrm>
            <a:prstGeom prst="rect">
              <a:avLst/>
            </a:prstGeom>
          </p:spPr>
        </p:pic>
        <p:sp>
          <p:nvSpPr>
            <p:cNvPr id="33" name="TextBox 32">
              <a:extLst>
                <a:ext uri="{FF2B5EF4-FFF2-40B4-BE49-F238E27FC236}">
                  <a16:creationId xmlns:a16="http://schemas.microsoft.com/office/drawing/2014/main" id="{065529C8-3310-1907-BC7F-CAD65B80F423}"/>
                </a:ext>
              </a:extLst>
            </p:cNvPr>
            <p:cNvSpPr txBox="1"/>
            <p:nvPr/>
          </p:nvSpPr>
          <p:spPr>
            <a:xfrm>
              <a:off x="1195271" y="5135885"/>
              <a:ext cx="1038745" cy="338555"/>
            </a:xfrm>
            <a:prstGeom prst="rect">
              <a:avLst/>
            </a:prstGeom>
            <a:noFill/>
          </p:spPr>
          <p:txBody>
            <a:bodyPr wrap="none" lIns="0" rIns="0" rtlCol="0">
              <a:spAutoFit/>
            </a:bodyPr>
            <a:lstStyle/>
            <a:p>
              <a:pPr defTabSz="685800">
                <a:spcBef>
                  <a:spcPts val="450"/>
                </a:spcBef>
                <a:defRPr/>
              </a:pPr>
              <a:r>
                <a:rPr lang="en-US" sz="1050" b="1">
                  <a:solidFill>
                    <a:srgbClr val="002856"/>
                  </a:solidFill>
                  <a:latin typeface="Arial" panose="020B0604020202020204"/>
                </a:rPr>
                <a:t>Saves Time </a:t>
              </a:r>
              <a:endParaRPr lang="en-US" sz="1050">
                <a:solidFill>
                  <a:srgbClr val="002856"/>
                </a:solidFill>
                <a:latin typeface="Arial" panose="020B0604020202020204"/>
              </a:endParaRPr>
            </a:p>
          </p:txBody>
        </p:sp>
        <p:sp>
          <p:nvSpPr>
            <p:cNvPr id="34" name="TextBox 33">
              <a:extLst>
                <a:ext uri="{FF2B5EF4-FFF2-40B4-BE49-F238E27FC236}">
                  <a16:creationId xmlns:a16="http://schemas.microsoft.com/office/drawing/2014/main" id="{59966D4C-9F75-F6FE-7A50-2E1A31912448}"/>
                </a:ext>
              </a:extLst>
            </p:cNvPr>
            <p:cNvSpPr txBox="1"/>
            <p:nvPr/>
          </p:nvSpPr>
          <p:spPr>
            <a:xfrm>
              <a:off x="4238085" y="5131856"/>
              <a:ext cx="955847" cy="338555"/>
            </a:xfrm>
            <a:prstGeom prst="rect">
              <a:avLst/>
            </a:prstGeom>
            <a:noFill/>
          </p:spPr>
          <p:txBody>
            <a:bodyPr wrap="square" lIns="0" rIns="0" rtlCol="0">
              <a:spAutoFit/>
            </a:bodyPr>
            <a:lstStyle/>
            <a:p>
              <a:pPr defTabSz="685800">
                <a:spcBef>
                  <a:spcPts val="450"/>
                </a:spcBef>
                <a:defRPr/>
              </a:pPr>
              <a:r>
                <a:rPr lang="en-US" sz="1050" b="1">
                  <a:solidFill>
                    <a:srgbClr val="002856"/>
                  </a:solidFill>
                  <a:latin typeface="Arial" panose="020B0604020202020204"/>
                </a:rPr>
                <a:t>Scalable </a:t>
              </a:r>
              <a:endParaRPr lang="en-US" sz="1050">
                <a:solidFill>
                  <a:srgbClr val="002856"/>
                </a:solidFill>
                <a:latin typeface="Arial" panose="020B0604020202020204"/>
              </a:endParaRPr>
            </a:p>
          </p:txBody>
        </p:sp>
        <p:sp>
          <p:nvSpPr>
            <p:cNvPr id="36" name="TextBox 35">
              <a:extLst>
                <a:ext uri="{FF2B5EF4-FFF2-40B4-BE49-F238E27FC236}">
                  <a16:creationId xmlns:a16="http://schemas.microsoft.com/office/drawing/2014/main" id="{D9FDD4A9-4BF8-6B09-20BF-37C26C84757E}"/>
                </a:ext>
              </a:extLst>
            </p:cNvPr>
            <p:cNvSpPr txBox="1"/>
            <p:nvPr/>
          </p:nvSpPr>
          <p:spPr>
            <a:xfrm>
              <a:off x="7490112" y="5135885"/>
              <a:ext cx="807913" cy="338555"/>
            </a:xfrm>
            <a:prstGeom prst="rect">
              <a:avLst/>
            </a:prstGeom>
            <a:noFill/>
          </p:spPr>
          <p:txBody>
            <a:bodyPr wrap="none" lIns="0" rIns="0" rtlCol="0">
              <a:spAutoFit/>
            </a:bodyPr>
            <a:lstStyle/>
            <a:p>
              <a:pPr defTabSz="685800">
                <a:spcBef>
                  <a:spcPts val="450"/>
                </a:spcBef>
                <a:defRPr/>
              </a:pPr>
              <a:r>
                <a:rPr lang="en-US" sz="1050" b="1">
                  <a:solidFill>
                    <a:srgbClr val="002856"/>
                  </a:solidFill>
                  <a:latin typeface="Arial" panose="020B0604020202020204"/>
                </a:rPr>
                <a:t>Unbiased</a:t>
              </a:r>
              <a:endParaRPr lang="en-US" sz="1050">
                <a:solidFill>
                  <a:srgbClr val="002856"/>
                </a:solidFill>
                <a:latin typeface="Arial" panose="020B0604020202020204"/>
              </a:endParaRPr>
            </a:p>
          </p:txBody>
        </p:sp>
        <p:cxnSp>
          <p:nvCxnSpPr>
            <p:cNvPr id="46" name="Straight Connector 45">
              <a:extLst>
                <a:ext uri="{FF2B5EF4-FFF2-40B4-BE49-F238E27FC236}">
                  <a16:creationId xmlns:a16="http://schemas.microsoft.com/office/drawing/2014/main" id="{1B437A86-E743-43F3-4B65-20B734BE297B}"/>
                </a:ext>
              </a:extLst>
            </p:cNvPr>
            <p:cNvCxnSpPr>
              <a:cxnSpLocks/>
            </p:cNvCxnSpPr>
            <p:nvPr/>
          </p:nvCxnSpPr>
          <p:spPr>
            <a:xfrm>
              <a:off x="6880355" y="5135789"/>
              <a:ext cx="4519" cy="1206272"/>
            </a:xfrm>
            <a:prstGeom prst="line">
              <a:avLst/>
            </a:prstGeom>
            <a:noFill/>
            <a:ln w="12700" cap="flat" cmpd="sng">
              <a:solidFill>
                <a:srgbClr val="DE3401"/>
              </a:solidFill>
              <a:prstDash val="solid"/>
              <a:round/>
              <a:headEnd type="none" w="lg" len="med"/>
              <a:tailEnd type="none" w="lg" len="med"/>
            </a:ln>
          </p:spPr>
        </p:cxnSp>
        <p:cxnSp>
          <p:nvCxnSpPr>
            <p:cNvPr id="40" name="Straight Connector 39">
              <a:extLst>
                <a:ext uri="{FF2B5EF4-FFF2-40B4-BE49-F238E27FC236}">
                  <a16:creationId xmlns:a16="http://schemas.microsoft.com/office/drawing/2014/main" id="{6AB58A61-2BD3-AD4D-1A6D-CB92F012C360}"/>
                </a:ext>
              </a:extLst>
            </p:cNvPr>
            <p:cNvCxnSpPr>
              <a:cxnSpLocks/>
            </p:cNvCxnSpPr>
            <p:nvPr/>
          </p:nvCxnSpPr>
          <p:spPr>
            <a:xfrm>
              <a:off x="3604957" y="5182412"/>
              <a:ext cx="4519" cy="1206272"/>
            </a:xfrm>
            <a:prstGeom prst="line">
              <a:avLst/>
            </a:prstGeom>
            <a:noFill/>
            <a:ln w="12700" cap="flat" cmpd="sng">
              <a:solidFill>
                <a:srgbClr val="DE3401"/>
              </a:solidFill>
              <a:prstDash val="solid"/>
              <a:round/>
              <a:headEnd type="none" w="lg" len="med"/>
              <a:tailEnd type="none" w="lg" len="med"/>
            </a:ln>
          </p:spPr>
        </p:cxnSp>
      </p:grpSp>
      <p:sp>
        <p:nvSpPr>
          <p:cNvPr id="7" name="TextBox 6">
            <a:extLst>
              <a:ext uri="{FF2B5EF4-FFF2-40B4-BE49-F238E27FC236}">
                <a16:creationId xmlns:a16="http://schemas.microsoft.com/office/drawing/2014/main" id="{1C28698B-A1AE-F6D0-6107-5AFC14C3C234}"/>
              </a:ext>
            </a:extLst>
          </p:cNvPr>
          <p:cNvSpPr txBox="1"/>
          <p:nvPr/>
        </p:nvSpPr>
        <p:spPr>
          <a:xfrm>
            <a:off x="3682059" y="2958632"/>
            <a:ext cx="2404988" cy="751488"/>
          </a:xfrm>
          <a:prstGeom prst="rect">
            <a:avLst/>
          </a:prstGeom>
          <a:noFill/>
        </p:spPr>
        <p:txBody>
          <a:bodyPr wrap="square" lIns="0" tIns="34290" rIns="0" bIns="34290" rtlCol="0" anchor="t">
            <a:spAutoFit/>
          </a:bodyPr>
          <a:lstStyle/>
          <a:p>
            <a:pPr marL="128588" indent="-128588" defTabSz="685800">
              <a:spcBef>
                <a:spcPts val="450"/>
              </a:spcBef>
              <a:buFont typeface="Arial" panose="020B0604020202020204" pitchFamily="34" charset="0"/>
              <a:buChar char="•"/>
              <a:defRPr/>
            </a:pPr>
            <a:r>
              <a:rPr lang="en-US" sz="900" b="1">
                <a:solidFill>
                  <a:srgbClr val="002856"/>
                </a:solidFill>
                <a:latin typeface="Arial" panose="020B0604020202020204"/>
              </a:rPr>
              <a:t>A collection of use cases and </a:t>
            </a:r>
            <a:br>
              <a:rPr lang="en-US" sz="900" b="1">
                <a:solidFill>
                  <a:srgbClr val="002856"/>
                </a:solidFill>
                <a:latin typeface="Arial" panose="020B0604020202020204"/>
              </a:rPr>
            </a:br>
            <a:r>
              <a:rPr lang="en-US" sz="900" b="1">
                <a:solidFill>
                  <a:srgbClr val="002856"/>
                </a:solidFill>
                <a:latin typeface="Arial" panose="020B0604020202020204"/>
              </a:rPr>
              <a:t>capabilities to easily navigate</a:t>
            </a:r>
          </a:p>
          <a:p>
            <a:pPr marL="128588" indent="-128588" defTabSz="685800">
              <a:spcBef>
                <a:spcPts val="450"/>
              </a:spcBef>
              <a:buFont typeface="Arial" panose="020B0604020202020204" pitchFamily="34" charset="0"/>
              <a:buChar char="•"/>
              <a:defRPr/>
            </a:pPr>
            <a:r>
              <a:rPr lang="en-US" sz="900" b="1">
                <a:solidFill>
                  <a:srgbClr val="002856"/>
                </a:solidFill>
                <a:latin typeface="Arial" panose="020B0604020202020204"/>
              </a:rPr>
              <a:t>Validation from a Gartner expert </a:t>
            </a:r>
            <a:endParaRPr lang="en-US" sz="900" b="1">
              <a:solidFill>
                <a:srgbClr val="002856"/>
              </a:solidFill>
              <a:latin typeface="Arial" panose="020B0604020202020204"/>
              <a:cs typeface="Arial"/>
            </a:endParaRPr>
          </a:p>
          <a:p>
            <a:pPr defTabSz="685800">
              <a:spcBef>
                <a:spcPts val="450"/>
              </a:spcBef>
              <a:defRPr/>
            </a:pPr>
            <a:endParaRPr lang="en-US" sz="900" b="1">
              <a:solidFill>
                <a:srgbClr val="002856"/>
              </a:solidFill>
              <a:latin typeface="Arial" panose="020B0604020202020204"/>
            </a:endParaRPr>
          </a:p>
        </p:txBody>
      </p:sp>
      <p:sp>
        <p:nvSpPr>
          <p:cNvPr id="8" name="TextBox 7">
            <a:extLst>
              <a:ext uri="{FF2B5EF4-FFF2-40B4-BE49-F238E27FC236}">
                <a16:creationId xmlns:a16="http://schemas.microsoft.com/office/drawing/2014/main" id="{905ECAB4-2531-3662-6862-3D7A4D64C100}"/>
              </a:ext>
            </a:extLst>
          </p:cNvPr>
          <p:cNvSpPr txBox="1"/>
          <p:nvPr/>
        </p:nvSpPr>
        <p:spPr>
          <a:xfrm>
            <a:off x="556023" y="2687982"/>
            <a:ext cx="1375377" cy="300082"/>
          </a:xfrm>
          <a:prstGeom prst="rect">
            <a:avLst/>
          </a:prstGeom>
          <a:noFill/>
        </p:spPr>
        <p:txBody>
          <a:bodyPr wrap="none" lIns="0" rIns="0" rtlCol="0">
            <a:spAutoFit/>
          </a:bodyPr>
          <a:lstStyle/>
          <a:p>
            <a:pPr defTabSz="685800">
              <a:spcBef>
                <a:spcPts val="450"/>
              </a:spcBef>
              <a:defRPr/>
            </a:pPr>
            <a:r>
              <a:rPr lang="en-US" sz="1350" b="1">
                <a:solidFill>
                  <a:srgbClr val="002856"/>
                </a:solidFill>
                <a:latin typeface="Arial" panose="020B0604020202020204"/>
              </a:rPr>
              <a:t>What you’ll get –</a:t>
            </a:r>
          </a:p>
        </p:txBody>
      </p:sp>
      <p:sp>
        <p:nvSpPr>
          <p:cNvPr id="15" name="TextBox 14">
            <a:extLst>
              <a:ext uri="{FF2B5EF4-FFF2-40B4-BE49-F238E27FC236}">
                <a16:creationId xmlns:a16="http://schemas.microsoft.com/office/drawing/2014/main" id="{B45F2AA6-8678-DE40-4DEC-EF1A0351FD19}"/>
              </a:ext>
            </a:extLst>
          </p:cNvPr>
          <p:cNvSpPr txBox="1"/>
          <p:nvPr/>
        </p:nvSpPr>
        <p:spPr>
          <a:xfrm>
            <a:off x="592806" y="691078"/>
            <a:ext cx="4115350" cy="507831"/>
          </a:xfrm>
          <a:prstGeom prst="rect">
            <a:avLst/>
          </a:prstGeom>
          <a:noFill/>
        </p:spPr>
        <p:txBody>
          <a:bodyPr wrap="square" lIns="0" rIns="0" rtlCol="0">
            <a:spAutoFit/>
          </a:bodyPr>
          <a:lstStyle/>
          <a:p>
            <a:pPr>
              <a:spcBef>
                <a:spcPts val="450"/>
              </a:spcBef>
            </a:pPr>
            <a:r>
              <a:rPr lang="en-US" sz="1350" b="1">
                <a:solidFill>
                  <a:schemeClr val="tx2"/>
                </a:solidFill>
              </a:rPr>
              <a:t>Gartner’s Reference Architecture </a:t>
            </a:r>
            <a:br>
              <a:rPr lang="en-US" sz="1350" b="1">
                <a:solidFill>
                  <a:schemeClr val="tx2"/>
                </a:solidFill>
              </a:rPr>
            </a:br>
            <a:r>
              <a:rPr lang="en-US" sz="1350" b="1">
                <a:solidFill>
                  <a:schemeClr val="tx2"/>
                </a:solidFill>
              </a:rPr>
              <a:t>Resource Center</a:t>
            </a:r>
          </a:p>
        </p:txBody>
      </p:sp>
      <p:pic>
        <p:nvPicPr>
          <p:cNvPr id="20" name="Picture 19" descr="Graphical user interface, application&#10;&#10;Description automatically generated">
            <a:extLst>
              <a:ext uri="{FF2B5EF4-FFF2-40B4-BE49-F238E27FC236}">
                <a16:creationId xmlns:a16="http://schemas.microsoft.com/office/drawing/2014/main" id="{E26AC572-0796-4A43-329D-B0296C97F9C6}"/>
              </a:ext>
            </a:extLst>
          </p:cNvPr>
          <p:cNvPicPr>
            <a:picLocks noChangeAspect="1"/>
          </p:cNvPicPr>
          <p:nvPr/>
        </p:nvPicPr>
        <p:blipFill rotWithShape="1">
          <a:blip r:embed="rId11">
            <a:extLst>
              <a:ext uri="{28A0092B-C50C-407E-A947-70E740481C1C}">
                <a14:useLocalDpi xmlns:a14="http://schemas.microsoft.com/office/drawing/2010/main" val="0"/>
              </a:ext>
            </a:extLst>
          </a:blip>
          <a:srcRect l="1420" b="19529"/>
          <a:stretch/>
        </p:blipFill>
        <p:spPr>
          <a:xfrm>
            <a:off x="5975139" y="256790"/>
            <a:ext cx="3168861" cy="2665389"/>
          </a:xfrm>
          <a:prstGeom prst="rect">
            <a:avLst/>
          </a:prstGeom>
          <a:ln>
            <a:solidFill>
              <a:schemeClr val="bg1">
                <a:lumMod val="85000"/>
              </a:schemeClr>
            </a:solidFill>
          </a:ln>
        </p:spPr>
      </p:pic>
      <p:sp>
        <p:nvSpPr>
          <p:cNvPr id="2" name="TextBox 1">
            <a:extLst>
              <a:ext uri="{FF2B5EF4-FFF2-40B4-BE49-F238E27FC236}">
                <a16:creationId xmlns:a16="http://schemas.microsoft.com/office/drawing/2014/main" id="{7A5EFC64-B9A6-5D24-48DA-EA74293DE058}"/>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30954710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dirty="0"/>
              <a:t>Thank you!</a:t>
            </a:r>
          </a:p>
        </p:txBody>
      </p:sp>
      <p:sp>
        <p:nvSpPr>
          <p:cNvPr id="3" name="Content Placeholder 2"/>
          <p:cNvSpPr>
            <a:spLocks noGrp="1"/>
          </p:cNvSpPr>
          <p:nvPr>
            <p:ph idx="1"/>
          </p:nvPr>
        </p:nvSpPr>
        <p:spPr/>
        <p:txBody>
          <a:bodyPr/>
          <a:lstStyle/>
          <a:p>
            <a:pPr marL="0" indent="0">
              <a:buNone/>
            </a:pPr>
            <a:r>
              <a:rPr lang="en-US" dirty="0"/>
              <a:t>Denise Cushaney</a:t>
            </a:r>
          </a:p>
          <a:p>
            <a:pPr marL="0" indent="0">
              <a:buNone/>
            </a:pPr>
            <a:r>
              <a:rPr lang="en-US" dirty="0"/>
              <a:t>Sr. Account Executive, Gartner (&amp; ISU Alum)</a:t>
            </a:r>
          </a:p>
          <a:p>
            <a:pPr marL="0" indent="0">
              <a:buNone/>
            </a:pPr>
            <a:r>
              <a:rPr lang="en-US" dirty="0">
                <a:hlinkClick r:id="rId4"/>
              </a:rPr>
              <a:t>Denise.Cushaney@gartner.com</a:t>
            </a:r>
            <a:endParaRPr lang="en-US" dirty="0"/>
          </a:p>
          <a:p>
            <a:pPr marL="0" indent="0">
              <a:buNone/>
            </a:pPr>
            <a:r>
              <a:rPr lang="en-US" dirty="0"/>
              <a:t>708.791.1045</a:t>
            </a:r>
          </a:p>
        </p:txBody>
      </p:sp>
      <p:sp>
        <p:nvSpPr>
          <p:cNvPr id="5" name="TextBox 4">
            <a:extLst>
              <a:ext uri="{FF2B5EF4-FFF2-40B4-BE49-F238E27FC236}">
                <a16:creationId xmlns:a16="http://schemas.microsoft.com/office/drawing/2014/main" id="{6C1CE306-6324-1EF8-E78D-2985B3AF8D69}"/>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3080073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3" y="0"/>
            <a:ext cx="9138197" cy="5143500"/>
          </a:xfrm>
          <a:prstGeom prst="rect">
            <a:avLst/>
          </a:prstGeom>
        </p:spPr>
      </p:pic>
      <p:sp>
        <p:nvSpPr>
          <p:cNvPr id="2" name="Title 1"/>
          <p:cNvSpPr>
            <a:spLocks noGrp="1"/>
          </p:cNvSpPr>
          <p:nvPr>
            <p:ph type="title"/>
          </p:nvPr>
        </p:nvSpPr>
        <p:spPr/>
        <p:txBody>
          <a:bodyPr/>
          <a:lstStyle/>
          <a:p>
            <a:r>
              <a:rPr lang="en-US" dirty="0">
                <a:solidFill>
                  <a:srgbClr val="002060"/>
                </a:solidFill>
              </a:rPr>
              <a:t>Confluence Status</a:t>
            </a:r>
          </a:p>
        </p:txBody>
      </p:sp>
      <p:pic>
        <p:nvPicPr>
          <p:cNvPr id="5" name="Content Placeholder 13" descr="A blue logo with a white background&#10;&#10;Description automatically generated">
            <a:extLst>
              <a:ext uri="{FF2B5EF4-FFF2-40B4-BE49-F238E27FC236}">
                <a16:creationId xmlns:a16="http://schemas.microsoft.com/office/drawing/2014/main" id="{DA403F21-8C73-E664-4E80-F31D875AAC3D}"/>
              </a:ext>
            </a:extLst>
          </p:cNvPr>
          <p:cNvPicPr>
            <a:picLocks noChangeAspect="1"/>
          </p:cNvPicPr>
          <p:nvPr/>
        </p:nvPicPr>
        <p:blipFill>
          <a:blip r:embed="rId4"/>
          <a:stretch>
            <a:fillRect/>
          </a:stretch>
        </p:blipFill>
        <p:spPr>
          <a:xfrm>
            <a:off x="69619" y="22984"/>
            <a:ext cx="1073194" cy="1040245"/>
          </a:xfrm>
          <a:prstGeom prst="rect">
            <a:avLst/>
          </a:prstGeom>
        </p:spPr>
      </p:pic>
      <p:sp>
        <p:nvSpPr>
          <p:cNvPr id="3" name="TextBox 2">
            <a:extLst>
              <a:ext uri="{FF2B5EF4-FFF2-40B4-BE49-F238E27FC236}">
                <a16:creationId xmlns:a16="http://schemas.microsoft.com/office/drawing/2014/main" id="{59DC9BFA-CA72-9863-16FC-D101A364A42E}"/>
              </a:ext>
            </a:extLst>
          </p:cNvPr>
          <p:cNvSpPr txBox="1"/>
          <p:nvPr/>
        </p:nvSpPr>
        <p:spPr>
          <a:xfrm>
            <a:off x="1229989" y="1456566"/>
            <a:ext cx="184731" cy="369332"/>
          </a:xfrm>
          <a:prstGeom prst="rect">
            <a:avLst/>
          </a:prstGeom>
          <a:noFill/>
        </p:spPr>
        <p:txBody>
          <a:bodyPr wrap="none" rtlCol="0">
            <a:spAutoFit/>
          </a:bodyPr>
          <a:lstStyle/>
          <a:p>
            <a:endParaRPr lang="en-US" dirty="0"/>
          </a:p>
        </p:txBody>
      </p:sp>
      <p:sp>
        <p:nvSpPr>
          <p:cNvPr id="7" name="Content Placeholder 2">
            <a:extLst>
              <a:ext uri="{FF2B5EF4-FFF2-40B4-BE49-F238E27FC236}">
                <a16:creationId xmlns:a16="http://schemas.microsoft.com/office/drawing/2014/main" id="{43974EC8-B190-C850-30BC-6054C9E40E22}"/>
              </a:ext>
            </a:extLst>
          </p:cNvPr>
          <p:cNvSpPr txBox="1">
            <a:spLocks/>
          </p:cNvSpPr>
          <p:nvPr/>
        </p:nvSpPr>
        <p:spPr>
          <a:xfrm>
            <a:off x="457200" y="1200151"/>
            <a:ext cx="8229600" cy="3394472"/>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40+ Spaces</a:t>
            </a:r>
          </a:p>
          <a:p>
            <a:pPr lvl="1">
              <a:buFont typeface="Wingdings" panose="05000000000000000000" pitchFamily="2" charset="2"/>
              <a:buChar char="§"/>
            </a:pPr>
            <a:r>
              <a:rPr lang="en-US" dirty="0"/>
              <a:t>Technology Support Teams</a:t>
            </a:r>
          </a:p>
          <a:p>
            <a:pPr lvl="2">
              <a:buFont typeface="Wingdings" panose="05000000000000000000" pitchFamily="2" charset="2"/>
              <a:buChar char="§"/>
            </a:pPr>
            <a:r>
              <a:rPr lang="en-US" dirty="0"/>
              <a:t>Technology Solutions + 7 Departmental Tech Teams</a:t>
            </a:r>
          </a:p>
          <a:p>
            <a:pPr lvl="1">
              <a:buFont typeface="Wingdings" panose="05000000000000000000" pitchFamily="2" charset="2"/>
              <a:buChar char="§"/>
            </a:pPr>
            <a:r>
              <a:rPr lang="en-US" dirty="0"/>
              <a:t>Functional Support Teams</a:t>
            </a:r>
          </a:p>
          <a:p>
            <a:pPr lvl="2">
              <a:buFont typeface="Wingdings" panose="05000000000000000000" pitchFamily="2" charset="2"/>
              <a:buChar char="§"/>
            </a:pPr>
            <a:r>
              <a:rPr lang="en-US" dirty="0"/>
              <a:t>EMDH, Facilities, FAO, HR, Payroll</a:t>
            </a:r>
          </a:p>
          <a:p>
            <a:pPr lvl="1">
              <a:buFont typeface="Wingdings" panose="05000000000000000000" pitchFamily="2" charset="2"/>
              <a:buChar char="§"/>
            </a:pPr>
            <a:r>
              <a:rPr lang="en-US" dirty="0"/>
              <a:t>Topic Specific Spaces (A Few Examples)</a:t>
            </a:r>
          </a:p>
          <a:p>
            <a:pPr lvl="2">
              <a:buFont typeface="Wingdings" panose="05000000000000000000" pitchFamily="2" charset="2"/>
              <a:buChar char="§"/>
            </a:pPr>
            <a:r>
              <a:rPr lang="en-US" dirty="0"/>
              <a:t>Accessibility, E-Commerce, EA, Esports</a:t>
            </a:r>
          </a:p>
          <a:p>
            <a:pPr lvl="1"/>
            <a:endParaRPr lang="en-US" dirty="0"/>
          </a:p>
        </p:txBody>
      </p:sp>
      <p:sp>
        <p:nvSpPr>
          <p:cNvPr id="6" name="TextBox 5">
            <a:extLst>
              <a:ext uri="{FF2B5EF4-FFF2-40B4-BE49-F238E27FC236}">
                <a16:creationId xmlns:a16="http://schemas.microsoft.com/office/drawing/2014/main" id="{ED99AD40-7350-6046-40DE-4FA9E426C1C6}"/>
              </a:ext>
            </a:extLst>
          </p:cNvPr>
          <p:cNvSpPr txBox="1"/>
          <p:nvPr/>
        </p:nvSpPr>
        <p:spPr>
          <a:xfrm>
            <a:off x="8056910" y="4695647"/>
            <a:ext cx="1969477" cy="584775"/>
          </a:xfrm>
          <a:prstGeom prst="rect">
            <a:avLst/>
          </a:prstGeom>
          <a:noFill/>
        </p:spPr>
        <p:txBody>
          <a:bodyPr wrap="square" rtlCol="0">
            <a:spAutoFit/>
          </a:bodyPr>
          <a:lstStyle/>
          <a:p>
            <a:r>
              <a:rPr lang="en-US" sz="1400" dirty="0"/>
              <a:t>Tyler Piper</a:t>
            </a:r>
          </a:p>
          <a:p>
            <a:endParaRPr lang="en-US" dirty="0"/>
          </a:p>
        </p:txBody>
      </p:sp>
    </p:spTree>
    <p:extLst>
      <p:ext uri="{BB962C8B-B14F-4D97-AF65-F5344CB8AC3E}">
        <p14:creationId xmlns:p14="http://schemas.microsoft.com/office/powerpoint/2010/main" val="3047093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3" y="0"/>
            <a:ext cx="9138197" cy="5143500"/>
          </a:xfrm>
          <a:prstGeom prst="rect">
            <a:avLst/>
          </a:prstGeom>
        </p:spPr>
      </p:pic>
      <p:sp>
        <p:nvSpPr>
          <p:cNvPr id="2" name="Title 1"/>
          <p:cNvSpPr>
            <a:spLocks noGrp="1"/>
          </p:cNvSpPr>
          <p:nvPr>
            <p:ph type="title"/>
          </p:nvPr>
        </p:nvSpPr>
        <p:spPr/>
        <p:txBody>
          <a:bodyPr/>
          <a:lstStyle/>
          <a:p>
            <a:r>
              <a:rPr lang="en-US" dirty="0">
                <a:solidFill>
                  <a:srgbClr val="002060"/>
                </a:solidFill>
              </a:rPr>
              <a:t>Confluence Article Stats</a:t>
            </a:r>
          </a:p>
        </p:txBody>
      </p:sp>
      <p:pic>
        <p:nvPicPr>
          <p:cNvPr id="5" name="Content Placeholder 13" descr="A blue logo with a white background&#10;&#10;Description automatically generated">
            <a:extLst>
              <a:ext uri="{FF2B5EF4-FFF2-40B4-BE49-F238E27FC236}">
                <a16:creationId xmlns:a16="http://schemas.microsoft.com/office/drawing/2014/main" id="{DA403F21-8C73-E664-4E80-F31D875AAC3D}"/>
              </a:ext>
            </a:extLst>
          </p:cNvPr>
          <p:cNvPicPr>
            <a:picLocks noChangeAspect="1"/>
          </p:cNvPicPr>
          <p:nvPr/>
        </p:nvPicPr>
        <p:blipFill>
          <a:blip r:embed="rId4"/>
          <a:stretch>
            <a:fillRect/>
          </a:stretch>
        </p:blipFill>
        <p:spPr>
          <a:xfrm>
            <a:off x="69619" y="22984"/>
            <a:ext cx="1073194" cy="1040245"/>
          </a:xfrm>
          <a:prstGeom prst="rect">
            <a:avLst/>
          </a:prstGeom>
        </p:spPr>
      </p:pic>
      <p:sp>
        <p:nvSpPr>
          <p:cNvPr id="3" name="TextBox 2">
            <a:extLst>
              <a:ext uri="{FF2B5EF4-FFF2-40B4-BE49-F238E27FC236}">
                <a16:creationId xmlns:a16="http://schemas.microsoft.com/office/drawing/2014/main" id="{59DC9BFA-CA72-9863-16FC-D101A364A42E}"/>
              </a:ext>
            </a:extLst>
          </p:cNvPr>
          <p:cNvSpPr txBox="1"/>
          <p:nvPr/>
        </p:nvSpPr>
        <p:spPr>
          <a:xfrm>
            <a:off x="1229989" y="1456566"/>
            <a:ext cx="184731" cy="369332"/>
          </a:xfrm>
          <a:prstGeom prst="rect">
            <a:avLst/>
          </a:prstGeom>
          <a:noFill/>
        </p:spPr>
        <p:txBody>
          <a:bodyPr wrap="none" rtlCol="0">
            <a:spAutoFit/>
          </a:bodyPr>
          <a:lstStyle/>
          <a:p>
            <a:endParaRPr lang="en-US" dirty="0"/>
          </a:p>
        </p:txBody>
      </p:sp>
      <p:sp>
        <p:nvSpPr>
          <p:cNvPr id="7" name="Content Placeholder 2">
            <a:extLst>
              <a:ext uri="{FF2B5EF4-FFF2-40B4-BE49-F238E27FC236}">
                <a16:creationId xmlns:a16="http://schemas.microsoft.com/office/drawing/2014/main" id="{43974EC8-B190-C850-30BC-6054C9E40E22}"/>
              </a:ext>
            </a:extLst>
          </p:cNvPr>
          <p:cNvSpPr txBox="1">
            <a:spLocks/>
          </p:cNvSpPr>
          <p:nvPr/>
        </p:nvSpPr>
        <p:spPr>
          <a:xfrm>
            <a:off x="457200" y="1200151"/>
            <a:ext cx="8229600" cy="339447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2023 Content Views January - July</a:t>
            </a:r>
          </a:p>
          <a:p>
            <a:pPr lvl="1">
              <a:buFont typeface="Wingdings" panose="05000000000000000000" pitchFamily="2" charset="2"/>
              <a:buChar char="§"/>
            </a:pPr>
            <a:r>
              <a:rPr lang="en-US" dirty="0"/>
              <a:t>Help.IllinoisState.edu - </a:t>
            </a:r>
          </a:p>
          <a:p>
            <a:pPr lvl="1">
              <a:buFont typeface="Wingdings" panose="05000000000000000000" pitchFamily="2" charset="2"/>
              <a:buChar char="§"/>
            </a:pPr>
            <a:r>
              <a:rPr lang="en-US" dirty="0"/>
              <a:t>Technology Articles - </a:t>
            </a:r>
          </a:p>
          <a:p>
            <a:pPr lvl="2">
              <a:buFont typeface="Wingdings" panose="05000000000000000000" pitchFamily="2" charset="2"/>
              <a:buChar char="§"/>
            </a:pPr>
            <a:r>
              <a:rPr lang="en-US" dirty="0"/>
              <a:t>Email Safety Tips – 109,000</a:t>
            </a:r>
          </a:p>
          <a:p>
            <a:pPr lvl="2">
              <a:buFont typeface="Wingdings" panose="05000000000000000000" pitchFamily="2" charset="2"/>
              <a:buChar char="§"/>
            </a:pPr>
            <a:r>
              <a:rPr lang="en-US" dirty="0"/>
              <a:t>Tracking Meeting Invitation Reponses in O365 – 31,000</a:t>
            </a:r>
          </a:p>
          <a:p>
            <a:pPr lvl="2">
              <a:buFont typeface="Wingdings" panose="05000000000000000000" pitchFamily="2" charset="2"/>
              <a:buChar char="§"/>
            </a:pPr>
            <a:r>
              <a:rPr lang="en-US" dirty="0"/>
              <a:t>Transferring OneNote to a New Owner – 27,000</a:t>
            </a:r>
          </a:p>
          <a:p>
            <a:pPr marL="0" indent="0">
              <a:buNone/>
            </a:pPr>
            <a:endParaRPr lang="en-US" dirty="0"/>
          </a:p>
        </p:txBody>
      </p:sp>
      <p:sp>
        <p:nvSpPr>
          <p:cNvPr id="6" name="TextBox 5">
            <a:extLst>
              <a:ext uri="{FF2B5EF4-FFF2-40B4-BE49-F238E27FC236}">
                <a16:creationId xmlns:a16="http://schemas.microsoft.com/office/drawing/2014/main" id="{5D9C423A-37F9-1238-85C7-DFE0A69D7F61}"/>
              </a:ext>
            </a:extLst>
          </p:cNvPr>
          <p:cNvSpPr txBox="1"/>
          <p:nvPr/>
        </p:nvSpPr>
        <p:spPr>
          <a:xfrm>
            <a:off x="4535829" y="1771531"/>
            <a:ext cx="1370888" cy="800219"/>
          </a:xfrm>
          <a:prstGeom prst="rect">
            <a:avLst/>
          </a:prstGeom>
          <a:noFill/>
        </p:spPr>
        <p:txBody>
          <a:bodyPr wrap="none" rtlCol="0">
            <a:spAutoFit/>
          </a:bodyPr>
          <a:lstStyle/>
          <a:p>
            <a:r>
              <a:rPr lang="en-US" sz="2800" dirty="0"/>
              <a:t>217,000</a:t>
            </a:r>
          </a:p>
          <a:p>
            <a:endParaRPr lang="en-US" dirty="0"/>
          </a:p>
        </p:txBody>
      </p:sp>
      <p:sp>
        <p:nvSpPr>
          <p:cNvPr id="8" name="TextBox 7">
            <a:extLst>
              <a:ext uri="{FF2B5EF4-FFF2-40B4-BE49-F238E27FC236}">
                <a16:creationId xmlns:a16="http://schemas.microsoft.com/office/drawing/2014/main" id="{2490CABF-034D-994A-F20A-0C6253471C91}"/>
              </a:ext>
            </a:extLst>
          </p:cNvPr>
          <p:cNvSpPr txBox="1"/>
          <p:nvPr/>
        </p:nvSpPr>
        <p:spPr>
          <a:xfrm>
            <a:off x="4246970" y="2308562"/>
            <a:ext cx="1370888" cy="800219"/>
          </a:xfrm>
          <a:prstGeom prst="rect">
            <a:avLst/>
          </a:prstGeom>
          <a:noFill/>
        </p:spPr>
        <p:txBody>
          <a:bodyPr wrap="none" rtlCol="0">
            <a:spAutoFit/>
          </a:bodyPr>
          <a:lstStyle/>
          <a:p>
            <a:r>
              <a:rPr lang="en-US" sz="2800" dirty="0"/>
              <a:t>798,000</a:t>
            </a:r>
          </a:p>
          <a:p>
            <a:endParaRPr lang="en-US" dirty="0"/>
          </a:p>
        </p:txBody>
      </p:sp>
      <p:sp>
        <p:nvSpPr>
          <p:cNvPr id="9" name="TextBox 8">
            <a:extLst>
              <a:ext uri="{FF2B5EF4-FFF2-40B4-BE49-F238E27FC236}">
                <a16:creationId xmlns:a16="http://schemas.microsoft.com/office/drawing/2014/main" id="{772B3DDE-FE53-829B-092A-1D887C618E4F}"/>
              </a:ext>
            </a:extLst>
          </p:cNvPr>
          <p:cNvSpPr txBox="1"/>
          <p:nvPr/>
        </p:nvSpPr>
        <p:spPr>
          <a:xfrm>
            <a:off x="8056910" y="4695647"/>
            <a:ext cx="1969477" cy="584775"/>
          </a:xfrm>
          <a:prstGeom prst="rect">
            <a:avLst/>
          </a:prstGeom>
          <a:noFill/>
        </p:spPr>
        <p:txBody>
          <a:bodyPr wrap="square" rtlCol="0">
            <a:spAutoFit/>
          </a:bodyPr>
          <a:lstStyle/>
          <a:p>
            <a:r>
              <a:rPr lang="en-US" sz="1400" dirty="0"/>
              <a:t>Tyler Piper</a:t>
            </a:r>
          </a:p>
          <a:p>
            <a:endParaRPr lang="en-US" dirty="0"/>
          </a:p>
        </p:txBody>
      </p:sp>
    </p:spTree>
    <p:extLst>
      <p:ext uri="{BB962C8B-B14F-4D97-AF65-F5344CB8AC3E}">
        <p14:creationId xmlns:p14="http://schemas.microsoft.com/office/powerpoint/2010/main" val="322039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500"/>
                                        <p:tgtEl>
                                          <p:spTgt spid="7">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fill="hold"/>
                                        <p:tgtEl>
                                          <p:spTgt spid="8"/>
                                        </p:tgtEl>
                                        <p:attrNameLst>
                                          <p:attrName>ppt_x</p:attrName>
                                        </p:attrNameLst>
                                      </p:cBhvr>
                                      <p:tavLst>
                                        <p:tav tm="0">
                                          <p:val>
                                            <p:strVal val="#ppt_x"/>
                                          </p:val>
                                        </p:tav>
                                        <p:tav tm="100000">
                                          <p:val>
                                            <p:strVal val="#ppt_x"/>
                                          </p:val>
                                        </p:tav>
                                      </p:tavLst>
                                    </p:anim>
                                    <p:anim calcmode="lin" valueType="num">
                                      <p:cBhvr additive="base">
                                        <p:cTn id="29"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7">
                                            <p:txEl>
                                              <p:pRg st="3" end="3"/>
                                            </p:txEl>
                                          </p:spTgt>
                                        </p:tgtEl>
                                        <p:attrNameLst>
                                          <p:attrName>style.visibility</p:attrName>
                                        </p:attrNameLst>
                                      </p:cBhvr>
                                      <p:to>
                                        <p:strVal val="visible"/>
                                      </p:to>
                                    </p:set>
                                    <p:animEffect transition="in" filter="fade">
                                      <p:cBhvr>
                                        <p:cTn id="34" dur="500"/>
                                        <p:tgtEl>
                                          <p:spTgt spid="7">
                                            <p:txEl>
                                              <p:pRg st="3" end="3"/>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7">
                                            <p:txEl>
                                              <p:pRg st="4" end="4"/>
                                            </p:txEl>
                                          </p:spTgt>
                                        </p:tgtEl>
                                        <p:attrNameLst>
                                          <p:attrName>style.visibility</p:attrName>
                                        </p:attrNameLst>
                                      </p:cBhvr>
                                      <p:to>
                                        <p:strVal val="visible"/>
                                      </p:to>
                                    </p:set>
                                    <p:animEffect transition="in" filter="fade">
                                      <p:cBhvr>
                                        <p:cTn id="37" dur="500"/>
                                        <p:tgtEl>
                                          <p:spTgt spid="7">
                                            <p:txEl>
                                              <p:pRg st="4" end="4"/>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7">
                                            <p:txEl>
                                              <p:pRg st="5" end="5"/>
                                            </p:txEl>
                                          </p:spTgt>
                                        </p:tgtEl>
                                        <p:attrNameLst>
                                          <p:attrName>style.visibility</p:attrName>
                                        </p:attrNameLst>
                                      </p:cBhvr>
                                      <p:to>
                                        <p:strVal val="visible"/>
                                      </p:to>
                                    </p:set>
                                    <p:animEffect transition="in" filter="fade">
                                      <p:cBhvr>
                                        <p:cTn id="40"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dirty="0">
                <a:solidFill>
                  <a:srgbClr val="002060"/>
                </a:solidFill>
              </a:rPr>
              <a:t>Confluence 2023 Roadmap</a:t>
            </a:r>
          </a:p>
        </p:txBody>
      </p:sp>
      <p:pic>
        <p:nvPicPr>
          <p:cNvPr id="14" name="Content Placeholder 13" descr="A blue logo with a white background&#10;&#10;Description automatically generated">
            <a:extLst>
              <a:ext uri="{FF2B5EF4-FFF2-40B4-BE49-F238E27FC236}">
                <a16:creationId xmlns:a16="http://schemas.microsoft.com/office/drawing/2014/main" id="{100F33BB-A4E4-9F32-CE16-C2258BC4607D}"/>
              </a:ext>
            </a:extLst>
          </p:cNvPr>
          <p:cNvPicPr>
            <a:picLocks noGrp="1" noChangeAspect="1"/>
          </p:cNvPicPr>
          <p:nvPr>
            <p:ph idx="1"/>
          </p:nvPr>
        </p:nvPicPr>
        <p:blipFill>
          <a:blip r:embed="rId4"/>
          <a:stretch>
            <a:fillRect/>
          </a:stretch>
        </p:blipFill>
        <p:spPr>
          <a:xfrm>
            <a:off x="69619" y="22984"/>
            <a:ext cx="1073194" cy="1040245"/>
          </a:xfrm>
        </p:spPr>
      </p:pic>
      <p:sp>
        <p:nvSpPr>
          <p:cNvPr id="17" name="Content Placeholder 2">
            <a:extLst>
              <a:ext uri="{FF2B5EF4-FFF2-40B4-BE49-F238E27FC236}">
                <a16:creationId xmlns:a16="http://schemas.microsoft.com/office/drawing/2014/main" id="{7316559D-CE3E-E91B-A9E0-7856ED7616FB}"/>
              </a:ext>
            </a:extLst>
          </p:cNvPr>
          <p:cNvSpPr txBox="1">
            <a:spLocks/>
          </p:cNvSpPr>
          <p:nvPr/>
        </p:nvSpPr>
        <p:spPr>
          <a:xfrm>
            <a:off x="457200" y="1200151"/>
            <a:ext cx="8229600" cy="339447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Upgrade to Latest Release Version Available</a:t>
            </a:r>
          </a:p>
          <a:p>
            <a:pPr lvl="1"/>
            <a:r>
              <a:rPr lang="en-US" dirty="0"/>
              <a:t>Including Add-On Updates</a:t>
            </a:r>
          </a:p>
          <a:p>
            <a:r>
              <a:rPr lang="en-US" dirty="0"/>
              <a:t>Retire Docs.Ilstu.edu Domain</a:t>
            </a:r>
          </a:p>
          <a:p>
            <a:r>
              <a:rPr lang="en-US" dirty="0"/>
              <a:t>Establish Knowledge Champions Group</a:t>
            </a:r>
          </a:p>
          <a:p>
            <a:r>
              <a:rPr lang="en-US" dirty="0"/>
              <a:t>New Internal Landing Page</a:t>
            </a:r>
          </a:p>
        </p:txBody>
      </p:sp>
      <p:sp>
        <p:nvSpPr>
          <p:cNvPr id="3" name="TextBox 2">
            <a:extLst>
              <a:ext uri="{FF2B5EF4-FFF2-40B4-BE49-F238E27FC236}">
                <a16:creationId xmlns:a16="http://schemas.microsoft.com/office/drawing/2014/main" id="{0138296D-5B36-6639-CAB0-E6BFC43AF778}"/>
              </a:ext>
            </a:extLst>
          </p:cNvPr>
          <p:cNvSpPr txBox="1"/>
          <p:nvPr/>
        </p:nvSpPr>
        <p:spPr>
          <a:xfrm>
            <a:off x="8056910" y="4695647"/>
            <a:ext cx="1969477" cy="584775"/>
          </a:xfrm>
          <a:prstGeom prst="rect">
            <a:avLst/>
          </a:prstGeom>
          <a:noFill/>
        </p:spPr>
        <p:txBody>
          <a:bodyPr wrap="square" rtlCol="0">
            <a:spAutoFit/>
          </a:bodyPr>
          <a:lstStyle/>
          <a:p>
            <a:r>
              <a:rPr lang="en-US" sz="1400" dirty="0"/>
              <a:t>Tyler Piper</a:t>
            </a:r>
          </a:p>
          <a:p>
            <a:endParaRPr lang="en-US" dirty="0"/>
          </a:p>
        </p:txBody>
      </p:sp>
    </p:spTree>
    <p:extLst>
      <p:ext uri="{BB962C8B-B14F-4D97-AF65-F5344CB8AC3E}">
        <p14:creationId xmlns:p14="http://schemas.microsoft.com/office/powerpoint/2010/main" val="1633307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7">
                                            <p:txEl>
                                              <p:pRg st="1" end="1"/>
                                            </p:txEl>
                                          </p:spTgt>
                                        </p:tgtEl>
                                        <p:attrNameLst>
                                          <p:attrName>style.visibility</p:attrName>
                                        </p:attrNameLst>
                                      </p:cBhvr>
                                      <p:to>
                                        <p:strVal val="visible"/>
                                      </p:to>
                                    </p:set>
                                    <p:animEffect transition="in" filter="fade">
                                      <p:cBhvr>
                                        <p:cTn id="10" dur="500"/>
                                        <p:tgtEl>
                                          <p:spTgt spid="1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animEffect transition="in" filter="fade">
                                      <p:cBhvr>
                                        <p:cTn id="15" dur="500"/>
                                        <p:tgtEl>
                                          <p:spTgt spid="17">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7">
                                            <p:txEl>
                                              <p:pRg st="3" end="3"/>
                                            </p:txEl>
                                          </p:spTgt>
                                        </p:tgtEl>
                                        <p:attrNameLst>
                                          <p:attrName>style.visibility</p:attrName>
                                        </p:attrNameLst>
                                      </p:cBhvr>
                                      <p:to>
                                        <p:strVal val="visible"/>
                                      </p:to>
                                    </p:set>
                                    <p:animEffect transition="in" filter="fade">
                                      <p:cBhvr>
                                        <p:cTn id="20" dur="500"/>
                                        <p:tgtEl>
                                          <p:spTgt spid="17">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7">
                                            <p:txEl>
                                              <p:pRg st="4" end="4"/>
                                            </p:txEl>
                                          </p:spTgt>
                                        </p:tgtEl>
                                        <p:attrNameLst>
                                          <p:attrName>style.visibility</p:attrName>
                                        </p:attrNameLst>
                                      </p:cBhvr>
                                      <p:to>
                                        <p:strVal val="visible"/>
                                      </p:to>
                                    </p:set>
                                    <p:animEffect transition="in" filter="fade">
                                      <p:cBhvr>
                                        <p:cTn id="25" dur="500"/>
                                        <p:tgtEl>
                                          <p:spTgt spid="1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ctrTitle"/>
          </p:nvPr>
        </p:nvSpPr>
        <p:spPr/>
        <p:txBody>
          <a:bodyPr>
            <a:normAutofit fontScale="90000"/>
          </a:bodyPr>
          <a:lstStyle/>
          <a:p>
            <a:r>
              <a:rPr lang="en-US" b="1" dirty="0"/>
              <a:t>Welcome to the </a:t>
            </a:r>
            <a:br>
              <a:rPr lang="en-US" b="1" dirty="0"/>
            </a:br>
            <a:r>
              <a:rPr lang="en-US" b="1" dirty="0"/>
              <a:t>2023 CIT Annual Conference</a:t>
            </a:r>
          </a:p>
        </p:txBody>
      </p:sp>
    </p:spTree>
    <p:extLst>
      <p:ext uri="{BB962C8B-B14F-4D97-AF65-F5344CB8AC3E}">
        <p14:creationId xmlns:p14="http://schemas.microsoft.com/office/powerpoint/2010/main" val="42754304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a:xfrm>
            <a:off x="457200" y="364673"/>
            <a:ext cx="8229600" cy="698556"/>
          </a:xfrm>
        </p:spPr>
        <p:txBody>
          <a:bodyPr>
            <a:noAutofit/>
          </a:bodyPr>
          <a:lstStyle/>
          <a:p>
            <a:r>
              <a:rPr lang="en-US" dirty="0">
                <a:solidFill>
                  <a:srgbClr val="002060"/>
                </a:solidFill>
              </a:rPr>
              <a:t>Cherwell ITSM</a:t>
            </a:r>
          </a:p>
        </p:txBody>
      </p:sp>
      <p:sp>
        <p:nvSpPr>
          <p:cNvPr id="3" name="Content Placeholder 2"/>
          <p:cNvSpPr>
            <a:spLocks noGrp="1"/>
          </p:cNvSpPr>
          <p:nvPr>
            <p:ph idx="1"/>
          </p:nvPr>
        </p:nvSpPr>
        <p:spPr>
          <a:xfrm>
            <a:off x="457199" y="1200151"/>
            <a:ext cx="8468315" cy="3394472"/>
          </a:xfrm>
        </p:spPr>
        <p:txBody>
          <a:bodyPr/>
          <a:lstStyle/>
          <a:p>
            <a:r>
              <a:rPr lang="en-US" dirty="0"/>
              <a:t> Cherwell Go Live – December 2015</a:t>
            </a:r>
          </a:p>
          <a:p>
            <a:pPr lvl="1">
              <a:buFont typeface="Wingdings" panose="05000000000000000000" pitchFamily="2" charset="2"/>
              <a:buChar char="§"/>
            </a:pPr>
            <a:r>
              <a:rPr lang="en-US" dirty="0"/>
              <a:t>First Ticket - Dec 16</a:t>
            </a:r>
            <a:r>
              <a:rPr lang="en-US" baseline="30000" dirty="0"/>
              <a:t>th</a:t>
            </a:r>
            <a:r>
              <a:rPr lang="en-US" dirty="0"/>
              <a:t> @10:55 PM, #10028</a:t>
            </a:r>
          </a:p>
          <a:p>
            <a:pPr lvl="1">
              <a:buFont typeface="Wingdings" panose="05000000000000000000" pitchFamily="2" charset="2"/>
              <a:buChar char="§"/>
            </a:pPr>
            <a:r>
              <a:rPr lang="en-US" dirty="0"/>
              <a:t>Last Ticket – </a:t>
            </a:r>
            <a:r>
              <a:rPr lang="en-US" sz="3200" dirty="0"/>
              <a:t>!?!?!</a:t>
            </a:r>
          </a:p>
          <a:p>
            <a:pPr lvl="1">
              <a:buFont typeface="Wingdings" panose="05000000000000000000" pitchFamily="2" charset="2"/>
              <a:buChar char="§"/>
            </a:pPr>
            <a:r>
              <a:rPr lang="en-US" sz="3200" dirty="0"/>
              <a:t>Project 10641: Implement ITSM Replacement</a:t>
            </a:r>
          </a:p>
          <a:p>
            <a:pPr lvl="2">
              <a:buFont typeface="Wingdings" panose="05000000000000000000" pitchFamily="2" charset="2"/>
              <a:buChar char="§"/>
            </a:pPr>
            <a:r>
              <a:rPr lang="en-US" sz="2800" dirty="0"/>
              <a:t>July 2023 – Summer 2024</a:t>
            </a:r>
          </a:p>
        </p:txBody>
      </p:sp>
      <p:pic>
        <p:nvPicPr>
          <p:cNvPr id="1026" name="Picture 2" descr="image">
            <a:extLst>
              <a:ext uri="{FF2B5EF4-FFF2-40B4-BE49-F238E27FC236}">
                <a16:creationId xmlns:a16="http://schemas.microsoft.com/office/drawing/2014/main" id="{91161998-440B-0F55-B62A-0EB3A98E62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89" y="16186"/>
            <a:ext cx="1183965" cy="11839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83E8E53-E9CB-ECCD-EFF7-E80871C33C59}"/>
              </a:ext>
            </a:extLst>
          </p:cNvPr>
          <p:cNvSpPr txBox="1"/>
          <p:nvPr/>
        </p:nvSpPr>
        <p:spPr>
          <a:xfrm>
            <a:off x="8056910" y="4695647"/>
            <a:ext cx="1969477" cy="584775"/>
          </a:xfrm>
          <a:prstGeom prst="rect">
            <a:avLst/>
          </a:prstGeom>
          <a:noFill/>
        </p:spPr>
        <p:txBody>
          <a:bodyPr wrap="square" rtlCol="0">
            <a:spAutoFit/>
          </a:bodyPr>
          <a:lstStyle/>
          <a:p>
            <a:r>
              <a:rPr lang="en-US" sz="1400" dirty="0"/>
              <a:t>Tyler Piper</a:t>
            </a:r>
          </a:p>
          <a:p>
            <a:endParaRPr lang="en-US" dirty="0"/>
          </a:p>
        </p:txBody>
      </p:sp>
    </p:spTree>
    <p:extLst>
      <p:ext uri="{BB962C8B-B14F-4D97-AF65-F5344CB8AC3E}">
        <p14:creationId xmlns:p14="http://schemas.microsoft.com/office/powerpoint/2010/main" val="905568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3" y="0"/>
            <a:ext cx="9138197" cy="5143500"/>
          </a:xfrm>
          <a:prstGeom prst="rect">
            <a:avLst/>
          </a:prstGeom>
        </p:spPr>
      </p:pic>
      <p:sp>
        <p:nvSpPr>
          <p:cNvPr id="2" name="Title 1"/>
          <p:cNvSpPr>
            <a:spLocks noGrp="1"/>
          </p:cNvSpPr>
          <p:nvPr>
            <p:ph type="title"/>
          </p:nvPr>
        </p:nvSpPr>
        <p:spPr>
          <a:xfrm>
            <a:off x="457200" y="364673"/>
            <a:ext cx="8229600" cy="698556"/>
          </a:xfrm>
        </p:spPr>
        <p:txBody>
          <a:bodyPr>
            <a:noAutofit/>
          </a:bodyPr>
          <a:lstStyle/>
          <a:p>
            <a:r>
              <a:rPr lang="en-US" dirty="0">
                <a:solidFill>
                  <a:srgbClr val="002060"/>
                </a:solidFill>
              </a:rPr>
              <a:t>Ivanti Neurons for ITSM</a:t>
            </a:r>
          </a:p>
        </p:txBody>
      </p:sp>
      <p:sp>
        <p:nvSpPr>
          <p:cNvPr id="3" name="Content Placeholder 2"/>
          <p:cNvSpPr>
            <a:spLocks noGrp="1"/>
          </p:cNvSpPr>
          <p:nvPr>
            <p:ph idx="1"/>
          </p:nvPr>
        </p:nvSpPr>
        <p:spPr/>
        <p:txBody>
          <a:bodyPr>
            <a:normAutofit/>
          </a:bodyPr>
          <a:lstStyle/>
          <a:p>
            <a:r>
              <a:rPr lang="en-US" dirty="0"/>
              <a:t>100% Web Based Application</a:t>
            </a:r>
          </a:p>
          <a:p>
            <a:r>
              <a:rPr lang="en-US" dirty="0"/>
              <a:t>Better Performance</a:t>
            </a:r>
          </a:p>
          <a:p>
            <a:r>
              <a:rPr lang="en-US" dirty="0"/>
              <a:t>Mobile Apps</a:t>
            </a:r>
          </a:p>
          <a:p>
            <a:r>
              <a:rPr lang="en-US" dirty="0"/>
              <a:t>Customer Request Portal (A Good One)</a:t>
            </a:r>
          </a:p>
          <a:p>
            <a:r>
              <a:rPr lang="en-US" dirty="0"/>
              <a:t>Faster Form Development + Updates</a:t>
            </a:r>
          </a:p>
        </p:txBody>
      </p:sp>
      <p:pic>
        <p:nvPicPr>
          <p:cNvPr id="1026" name="Picture 2" descr="image">
            <a:extLst>
              <a:ext uri="{FF2B5EF4-FFF2-40B4-BE49-F238E27FC236}">
                <a16:creationId xmlns:a16="http://schemas.microsoft.com/office/drawing/2014/main" id="{91161998-440B-0F55-B62A-0EB3A98E62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189" y="16186"/>
            <a:ext cx="1183965" cy="11839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2BBFAA4-B901-4CC0-0D3F-4D2684998CA4}"/>
              </a:ext>
            </a:extLst>
          </p:cNvPr>
          <p:cNvSpPr txBox="1"/>
          <p:nvPr/>
        </p:nvSpPr>
        <p:spPr>
          <a:xfrm>
            <a:off x="8056910" y="4695647"/>
            <a:ext cx="1969477" cy="584775"/>
          </a:xfrm>
          <a:prstGeom prst="rect">
            <a:avLst/>
          </a:prstGeom>
          <a:noFill/>
        </p:spPr>
        <p:txBody>
          <a:bodyPr wrap="square" rtlCol="0">
            <a:spAutoFit/>
          </a:bodyPr>
          <a:lstStyle/>
          <a:p>
            <a:r>
              <a:rPr lang="en-US" sz="1400" dirty="0"/>
              <a:t>Tyler Piper</a:t>
            </a:r>
          </a:p>
          <a:p>
            <a:endParaRPr lang="en-US" dirty="0"/>
          </a:p>
        </p:txBody>
      </p:sp>
    </p:spTree>
    <p:extLst>
      <p:ext uri="{BB962C8B-B14F-4D97-AF65-F5344CB8AC3E}">
        <p14:creationId xmlns:p14="http://schemas.microsoft.com/office/powerpoint/2010/main" val="8058981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CIT MVP Award</a:t>
            </a:r>
          </a:p>
        </p:txBody>
      </p:sp>
      <p:sp>
        <p:nvSpPr>
          <p:cNvPr id="3" name="Content Placeholder 2"/>
          <p:cNvSpPr>
            <a:spLocks noGrp="1"/>
          </p:cNvSpPr>
          <p:nvPr>
            <p:ph idx="1"/>
          </p:nvPr>
        </p:nvSpPr>
        <p:spPr/>
        <p:txBody>
          <a:bodyPr vert="horz" lIns="91440" tIns="45720" rIns="91440" bIns="45720" rtlCol="0" anchor="t">
            <a:normAutofit/>
          </a:bodyPr>
          <a:lstStyle/>
          <a:p>
            <a:pPr marL="0" indent="0">
              <a:buNone/>
            </a:pPr>
            <a:r>
              <a:rPr lang="en-US" sz="2600" b="0" i="0">
                <a:solidFill>
                  <a:srgbClr val="333333"/>
                </a:solidFill>
                <a:effectLst/>
                <a:latin typeface="ISURegular"/>
              </a:rPr>
              <a:t>The MVP Award recognizes one full-time technical staff member each year in the Illinois State University community for  outstanding contribution(s) to the support of faculty, staff, students, and/or operations, as well as collaboration with others.</a:t>
            </a:r>
            <a:endParaRPr lang="en-US"/>
          </a:p>
        </p:txBody>
      </p:sp>
    </p:spTree>
    <p:extLst>
      <p:ext uri="{BB962C8B-B14F-4D97-AF65-F5344CB8AC3E}">
        <p14:creationId xmlns:p14="http://schemas.microsoft.com/office/powerpoint/2010/main" val="25091070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CIT MVP Award Nominee</a:t>
            </a:r>
          </a:p>
        </p:txBody>
      </p:sp>
      <p:sp>
        <p:nvSpPr>
          <p:cNvPr id="3" name="Content Placeholder 2"/>
          <p:cNvSpPr>
            <a:spLocks noGrp="1"/>
          </p:cNvSpPr>
          <p:nvPr>
            <p:ph idx="1"/>
          </p:nvPr>
        </p:nvSpPr>
        <p:spPr/>
        <p:txBody>
          <a:bodyPr>
            <a:normAutofit/>
          </a:bodyPr>
          <a:lstStyle/>
          <a:p>
            <a:pPr marL="0" indent="0">
              <a:buNone/>
            </a:pPr>
            <a:endParaRPr lang="en-US" sz="2600" dirty="0">
              <a:solidFill>
                <a:srgbClr val="333333"/>
              </a:solidFill>
              <a:latin typeface="ISURegular"/>
            </a:endParaRPr>
          </a:p>
          <a:p>
            <a:pPr marL="0" indent="0">
              <a:buNone/>
            </a:pPr>
            <a:endParaRPr lang="en-US" sz="2600" dirty="0">
              <a:solidFill>
                <a:srgbClr val="333333"/>
              </a:solidFill>
              <a:latin typeface="ISURegular"/>
            </a:endParaRPr>
          </a:p>
          <a:p>
            <a:pPr marL="0" indent="0" algn="ctr">
              <a:buNone/>
            </a:pPr>
            <a:r>
              <a:rPr lang="en-US" sz="4400" b="1" dirty="0">
                <a:solidFill>
                  <a:srgbClr val="333333"/>
                </a:solidFill>
                <a:latin typeface="ISURegular"/>
              </a:rPr>
              <a:t>Brian Bertalot</a:t>
            </a:r>
          </a:p>
          <a:p>
            <a:pPr marL="0" indent="0" algn="ctr">
              <a:buNone/>
            </a:pPr>
            <a:r>
              <a:rPr lang="en-US" sz="2600" dirty="0">
                <a:solidFill>
                  <a:srgbClr val="333333"/>
                </a:solidFill>
                <a:latin typeface="ISURegular"/>
              </a:rPr>
              <a:t>Technology Solutions EDA team</a:t>
            </a:r>
            <a:endParaRPr lang="en-US" dirty="0"/>
          </a:p>
        </p:txBody>
      </p:sp>
    </p:spTree>
    <p:extLst>
      <p:ext uri="{BB962C8B-B14F-4D97-AF65-F5344CB8AC3E}">
        <p14:creationId xmlns:p14="http://schemas.microsoft.com/office/powerpoint/2010/main" val="12561298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CIT MVP Award Nominee</a:t>
            </a:r>
          </a:p>
        </p:txBody>
      </p:sp>
      <p:sp>
        <p:nvSpPr>
          <p:cNvPr id="3" name="Content Placeholder 2"/>
          <p:cNvSpPr>
            <a:spLocks noGrp="1"/>
          </p:cNvSpPr>
          <p:nvPr>
            <p:ph idx="1"/>
          </p:nvPr>
        </p:nvSpPr>
        <p:spPr/>
        <p:txBody>
          <a:bodyPr>
            <a:normAutofit/>
          </a:bodyPr>
          <a:lstStyle/>
          <a:p>
            <a:pPr marL="0" indent="0">
              <a:buNone/>
            </a:pPr>
            <a:endParaRPr lang="en-US" sz="2600" dirty="0">
              <a:solidFill>
                <a:srgbClr val="333333"/>
              </a:solidFill>
              <a:latin typeface="ISURegular"/>
            </a:endParaRPr>
          </a:p>
          <a:p>
            <a:pPr marL="0" indent="0">
              <a:buNone/>
            </a:pPr>
            <a:endParaRPr lang="en-US" sz="2600" dirty="0">
              <a:solidFill>
                <a:srgbClr val="333333"/>
              </a:solidFill>
              <a:latin typeface="ISURegular"/>
            </a:endParaRPr>
          </a:p>
          <a:p>
            <a:pPr marL="0" indent="0" algn="ctr">
              <a:buNone/>
            </a:pPr>
            <a:r>
              <a:rPr lang="en-US" sz="4400" b="1" dirty="0">
                <a:solidFill>
                  <a:srgbClr val="333333"/>
                </a:solidFill>
                <a:latin typeface="ISURegular"/>
              </a:rPr>
              <a:t>Jim Johnson</a:t>
            </a:r>
          </a:p>
          <a:p>
            <a:pPr marL="0" indent="0" algn="ctr">
              <a:buNone/>
            </a:pPr>
            <a:r>
              <a:rPr lang="en-US" sz="2600" dirty="0">
                <a:solidFill>
                  <a:srgbClr val="333333"/>
                </a:solidFill>
                <a:latin typeface="ISURegular"/>
              </a:rPr>
              <a:t>Technology Solutions CCA team</a:t>
            </a:r>
            <a:endParaRPr lang="en-US" dirty="0"/>
          </a:p>
        </p:txBody>
      </p:sp>
    </p:spTree>
    <p:extLst>
      <p:ext uri="{BB962C8B-B14F-4D97-AF65-F5344CB8AC3E}">
        <p14:creationId xmlns:p14="http://schemas.microsoft.com/office/powerpoint/2010/main" val="38990492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CIT MVP Award Nominee</a:t>
            </a:r>
          </a:p>
        </p:txBody>
      </p:sp>
      <p:sp>
        <p:nvSpPr>
          <p:cNvPr id="3" name="Content Placeholder 2"/>
          <p:cNvSpPr>
            <a:spLocks noGrp="1"/>
          </p:cNvSpPr>
          <p:nvPr>
            <p:ph idx="1"/>
          </p:nvPr>
        </p:nvSpPr>
        <p:spPr/>
        <p:txBody>
          <a:bodyPr>
            <a:normAutofit/>
          </a:bodyPr>
          <a:lstStyle/>
          <a:p>
            <a:pPr marL="0" indent="0">
              <a:buNone/>
            </a:pPr>
            <a:endParaRPr lang="en-US" sz="2600" dirty="0">
              <a:solidFill>
                <a:srgbClr val="333333"/>
              </a:solidFill>
              <a:latin typeface="ISURegular"/>
            </a:endParaRPr>
          </a:p>
          <a:p>
            <a:pPr marL="0" indent="0">
              <a:buNone/>
            </a:pPr>
            <a:endParaRPr lang="en-US" sz="2600" dirty="0">
              <a:solidFill>
                <a:srgbClr val="333333"/>
              </a:solidFill>
              <a:latin typeface="ISURegular"/>
            </a:endParaRPr>
          </a:p>
          <a:p>
            <a:pPr marL="0" indent="0" algn="ctr">
              <a:buNone/>
            </a:pPr>
            <a:r>
              <a:rPr lang="en-US" sz="4400" b="1" dirty="0">
                <a:solidFill>
                  <a:srgbClr val="333333"/>
                </a:solidFill>
                <a:latin typeface="ISURegular"/>
              </a:rPr>
              <a:t>Gary Short</a:t>
            </a:r>
          </a:p>
          <a:p>
            <a:pPr marL="0" indent="0" algn="ctr">
              <a:buNone/>
            </a:pPr>
            <a:r>
              <a:rPr lang="en-US" sz="2600" dirty="0">
                <a:solidFill>
                  <a:srgbClr val="333333"/>
                </a:solidFill>
                <a:latin typeface="ISURegular"/>
              </a:rPr>
              <a:t>Tech Solutions Endpoint Support team</a:t>
            </a:r>
            <a:endParaRPr lang="en-US" dirty="0"/>
          </a:p>
        </p:txBody>
      </p:sp>
    </p:spTree>
    <p:extLst>
      <p:ext uri="{BB962C8B-B14F-4D97-AF65-F5344CB8AC3E}">
        <p14:creationId xmlns:p14="http://schemas.microsoft.com/office/powerpoint/2010/main" val="1493332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CIT MVP Award</a:t>
            </a:r>
          </a:p>
        </p:txBody>
      </p:sp>
      <p:sp>
        <p:nvSpPr>
          <p:cNvPr id="3" name="Content Placeholder 2"/>
          <p:cNvSpPr>
            <a:spLocks noGrp="1"/>
          </p:cNvSpPr>
          <p:nvPr>
            <p:ph idx="1"/>
          </p:nvPr>
        </p:nvSpPr>
        <p:spPr/>
        <p:txBody>
          <a:bodyPr>
            <a:normAutofit/>
          </a:bodyPr>
          <a:lstStyle/>
          <a:p>
            <a:pPr marL="0" indent="0" algn="ctr">
              <a:buNone/>
            </a:pPr>
            <a:r>
              <a:rPr lang="en-US" sz="2600" b="0" i="0" dirty="0">
                <a:solidFill>
                  <a:srgbClr val="333333"/>
                </a:solidFill>
                <a:effectLst/>
                <a:latin typeface="ISURegular"/>
              </a:rPr>
              <a:t>And the 2023 winner is…</a:t>
            </a:r>
          </a:p>
          <a:p>
            <a:pPr marL="0" indent="0">
              <a:buNone/>
            </a:pPr>
            <a:endParaRPr lang="en-US" sz="2600" dirty="0">
              <a:solidFill>
                <a:srgbClr val="333333"/>
              </a:solidFill>
              <a:latin typeface="ISURegular"/>
            </a:endParaRPr>
          </a:p>
          <a:p>
            <a:pPr marL="0" indent="0" algn="ctr">
              <a:buNone/>
            </a:pPr>
            <a:r>
              <a:rPr lang="en-US" sz="4400" b="1" dirty="0">
                <a:solidFill>
                  <a:srgbClr val="333333"/>
                </a:solidFill>
                <a:latin typeface="ISURegular"/>
              </a:rPr>
              <a:t>Jim Johnson</a:t>
            </a:r>
          </a:p>
          <a:p>
            <a:pPr marL="0" indent="0" algn="ctr">
              <a:buNone/>
            </a:pPr>
            <a:r>
              <a:rPr lang="en-US" sz="2600" dirty="0">
                <a:solidFill>
                  <a:srgbClr val="333333"/>
                </a:solidFill>
                <a:latin typeface="ISURegular"/>
              </a:rPr>
              <a:t>Tech Solutions CCA team</a:t>
            </a:r>
            <a:endParaRPr lang="en-US" dirty="0"/>
          </a:p>
        </p:txBody>
      </p:sp>
    </p:spTree>
    <p:extLst>
      <p:ext uri="{BB962C8B-B14F-4D97-AF65-F5344CB8AC3E}">
        <p14:creationId xmlns:p14="http://schemas.microsoft.com/office/powerpoint/2010/main" val="407245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normAutofit fontScale="90000"/>
          </a:bodyPr>
          <a:lstStyle/>
          <a:p>
            <a:r>
              <a:rPr lang="en-US" dirty="0"/>
              <a:t>Congratulations on your retirement!</a:t>
            </a:r>
          </a:p>
        </p:txBody>
      </p:sp>
      <p:sp>
        <p:nvSpPr>
          <p:cNvPr id="3" name="Content Placeholder 2"/>
          <p:cNvSpPr>
            <a:spLocks noGrp="1"/>
          </p:cNvSpPr>
          <p:nvPr>
            <p:ph idx="1"/>
          </p:nvPr>
        </p:nvSpPr>
        <p:spPr/>
        <p:txBody>
          <a:bodyPr>
            <a:normAutofit/>
          </a:bodyPr>
          <a:lstStyle/>
          <a:p>
            <a:pPr marL="0" indent="0">
              <a:buNone/>
            </a:pPr>
            <a:endParaRPr lang="en-US" dirty="0"/>
          </a:p>
          <a:p>
            <a:pPr marL="0" indent="0">
              <a:buNone/>
            </a:pPr>
            <a:endParaRPr lang="en-US" dirty="0"/>
          </a:p>
          <a:p>
            <a:pPr marL="0" indent="0" algn="ctr">
              <a:buNone/>
            </a:pPr>
            <a:r>
              <a:rPr lang="en-US" dirty="0"/>
              <a:t>Charles Bristow (CIPD), August 2023</a:t>
            </a:r>
          </a:p>
        </p:txBody>
      </p:sp>
    </p:spTree>
    <p:extLst>
      <p:ext uri="{BB962C8B-B14F-4D97-AF65-F5344CB8AC3E}">
        <p14:creationId xmlns:p14="http://schemas.microsoft.com/office/powerpoint/2010/main" val="2453938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Thank you!</a:t>
            </a:r>
          </a:p>
        </p:txBody>
      </p:sp>
      <p:sp>
        <p:nvSpPr>
          <p:cNvPr id="3" name="Content Placeholder 2"/>
          <p:cNvSpPr>
            <a:spLocks noGrp="1"/>
          </p:cNvSpPr>
          <p:nvPr>
            <p:ph idx="1"/>
          </p:nvPr>
        </p:nvSpPr>
        <p:spPr>
          <a:xfrm>
            <a:off x="457200" y="1200151"/>
            <a:ext cx="4114800" cy="3394472"/>
          </a:xfrm>
        </p:spPr>
        <p:txBody>
          <a:bodyPr>
            <a:normAutofit/>
          </a:bodyPr>
          <a:lstStyle/>
          <a:p>
            <a:pPr marL="0" indent="0" algn="ctr">
              <a:buNone/>
            </a:pPr>
            <a:r>
              <a:rPr lang="en-US" sz="2600" b="0" i="0">
                <a:solidFill>
                  <a:srgbClr val="333333"/>
                </a:solidFill>
                <a:effectLst/>
                <a:latin typeface="ISURegular"/>
              </a:rPr>
              <a:t>Many thanks to </a:t>
            </a:r>
            <a:r>
              <a:rPr lang="en-US" sz="2600">
                <a:solidFill>
                  <a:srgbClr val="333333"/>
                </a:solidFill>
                <a:latin typeface="ISURegular"/>
              </a:rPr>
              <a:t>the </a:t>
            </a:r>
          </a:p>
          <a:p>
            <a:pPr marL="0" indent="0" algn="ctr">
              <a:buNone/>
            </a:pPr>
            <a:r>
              <a:rPr lang="en-US" sz="2600" b="1" i="0">
                <a:solidFill>
                  <a:srgbClr val="333333"/>
                </a:solidFill>
                <a:effectLst/>
                <a:latin typeface="ISURegular"/>
              </a:rPr>
              <a:t>Presenters</a:t>
            </a:r>
            <a:r>
              <a:rPr lang="en-US" sz="2600" b="0" i="0">
                <a:solidFill>
                  <a:srgbClr val="333333"/>
                </a:solidFill>
                <a:effectLst/>
                <a:latin typeface="ISURegular"/>
              </a:rPr>
              <a:t> </a:t>
            </a:r>
          </a:p>
          <a:p>
            <a:pPr marL="0" indent="0" algn="ctr">
              <a:buNone/>
            </a:pPr>
            <a:r>
              <a:rPr lang="en-US" sz="2600" b="0" i="0">
                <a:solidFill>
                  <a:srgbClr val="333333"/>
                </a:solidFill>
                <a:effectLst/>
                <a:latin typeface="ISURegular"/>
              </a:rPr>
              <a:t>and </a:t>
            </a:r>
            <a:r>
              <a:rPr lang="en-US" sz="2600" b="1" i="0">
                <a:solidFill>
                  <a:srgbClr val="333333"/>
                </a:solidFill>
                <a:effectLst/>
                <a:latin typeface="ISURegular"/>
              </a:rPr>
              <a:t>Tech Facilitators</a:t>
            </a:r>
          </a:p>
          <a:p>
            <a:pPr marL="0" indent="0" algn="ctr">
              <a:buNone/>
            </a:pPr>
            <a:r>
              <a:rPr lang="en-US" sz="2600">
                <a:solidFill>
                  <a:srgbClr val="333333"/>
                </a:solidFill>
                <a:latin typeface="ISURegular"/>
              </a:rPr>
              <a:t>who make a </a:t>
            </a:r>
          </a:p>
          <a:p>
            <a:pPr marL="0" indent="0" algn="ctr">
              <a:buNone/>
            </a:pPr>
            <a:r>
              <a:rPr lang="en-US" sz="2600">
                <a:solidFill>
                  <a:srgbClr val="333333"/>
                </a:solidFill>
                <a:latin typeface="ISURegular"/>
              </a:rPr>
              <a:t>hybrid CIT event possible</a:t>
            </a:r>
            <a:endParaRPr lang="en-US"/>
          </a:p>
        </p:txBody>
      </p:sp>
      <p:pic>
        <p:nvPicPr>
          <p:cNvPr id="9" name="Picture 8" descr="A person sitting at a table with a drink">
            <a:extLst>
              <a:ext uri="{FF2B5EF4-FFF2-40B4-BE49-F238E27FC236}">
                <a16:creationId xmlns:a16="http://schemas.microsoft.com/office/drawing/2014/main" id="{061B7992-B662-90CD-5649-EBAABD0036FF}"/>
              </a:ext>
            </a:extLst>
          </p:cNvPr>
          <p:cNvPicPr>
            <a:picLocks noChangeAspect="1"/>
          </p:cNvPicPr>
          <p:nvPr/>
        </p:nvPicPr>
        <p:blipFill>
          <a:blip r:embed="rId4"/>
          <a:stretch>
            <a:fillRect/>
          </a:stretch>
        </p:blipFill>
        <p:spPr>
          <a:xfrm>
            <a:off x="4401869" y="1562969"/>
            <a:ext cx="4114800" cy="2668836"/>
          </a:xfrm>
          <a:prstGeom prst="rect">
            <a:avLst/>
          </a:prstGeom>
        </p:spPr>
      </p:pic>
    </p:spTree>
    <p:extLst>
      <p:ext uri="{BB962C8B-B14F-4D97-AF65-F5344CB8AC3E}">
        <p14:creationId xmlns:p14="http://schemas.microsoft.com/office/powerpoint/2010/main" val="30439584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ION - Infrastructure</a:t>
            </a:r>
          </a:p>
        </p:txBody>
      </p:sp>
      <p:sp>
        <p:nvSpPr>
          <p:cNvPr id="3" name="Content Placeholder 2"/>
          <p:cNvSpPr>
            <a:spLocks noGrp="1"/>
          </p:cNvSpPr>
          <p:nvPr>
            <p:ph idx="1"/>
          </p:nvPr>
        </p:nvSpPr>
        <p:spPr/>
        <p:txBody>
          <a:bodyPr/>
          <a:lstStyle/>
          <a:p>
            <a:r>
              <a:rPr lang="en-US"/>
              <a:t>University Farm Connectivity</a:t>
            </a:r>
          </a:p>
          <a:p>
            <a:r>
              <a:rPr lang="en-US"/>
              <a:t>WAN Router Upgrade</a:t>
            </a:r>
          </a:p>
          <a:p>
            <a:r>
              <a:rPr lang="en-US"/>
              <a:t>Campus LAN Upgrade (Access Layer)</a:t>
            </a:r>
          </a:p>
          <a:p>
            <a:r>
              <a:rPr lang="en-US"/>
              <a:t>Campus Wireless Upgrade (Phase 1  - 6E)</a:t>
            </a:r>
          </a:p>
          <a:p>
            <a:endParaRPr lang="en-US"/>
          </a:p>
        </p:txBody>
      </p:sp>
      <p:sp>
        <p:nvSpPr>
          <p:cNvPr id="5" name="TextBox 4">
            <a:extLst>
              <a:ext uri="{FF2B5EF4-FFF2-40B4-BE49-F238E27FC236}">
                <a16:creationId xmlns:a16="http://schemas.microsoft.com/office/drawing/2014/main" id="{EEB1A8E2-A497-756A-F219-28671DF4FA4B}"/>
              </a:ext>
            </a:extLst>
          </p:cNvPr>
          <p:cNvSpPr txBox="1"/>
          <p:nvPr/>
        </p:nvSpPr>
        <p:spPr>
          <a:xfrm>
            <a:off x="7848110" y="4695647"/>
            <a:ext cx="1969477" cy="584775"/>
          </a:xfrm>
          <a:prstGeom prst="rect">
            <a:avLst/>
          </a:prstGeom>
          <a:noFill/>
        </p:spPr>
        <p:txBody>
          <a:bodyPr wrap="square" rtlCol="0">
            <a:spAutoFit/>
          </a:bodyPr>
          <a:lstStyle/>
          <a:p>
            <a:r>
              <a:rPr lang="en-US" sz="1400" dirty="0"/>
              <a:t>Craig Jackson</a:t>
            </a:r>
          </a:p>
          <a:p>
            <a:endParaRPr lang="en-US" dirty="0"/>
          </a:p>
        </p:txBody>
      </p:sp>
    </p:spTree>
    <p:extLst>
      <p:ext uri="{BB962C8B-B14F-4D97-AF65-F5344CB8AC3E}">
        <p14:creationId xmlns:p14="http://schemas.microsoft.com/office/powerpoint/2010/main" val="1115125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ctrTitle"/>
          </p:nvPr>
        </p:nvSpPr>
        <p:spPr/>
        <p:txBody>
          <a:bodyPr>
            <a:normAutofit/>
          </a:bodyPr>
          <a:lstStyle/>
          <a:p>
            <a:r>
              <a:rPr lang="en-US" b="1"/>
              <a:t>IT News</a:t>
            </a:r>
          </a:p>
        </p:txBody>
      </p:sp>
    </p:spTree>
    <p:extLst>
      <p:ext uri="{BB962C8B-B14F-4D97-AF65-F5344CB8AC3E}">
        <p14:creationId xmlns:p14="http://schemas.microsoft.com/office/powerpoint/2010/main" val="1843247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ION - Services</a:t>
            </a:r>
          </a:p>
        </p:txBody>
      </p:sp>
      <p:sp>
        <p:nvSpPr>
          <p:cNvPr id="3" name="Content Placeholder 2"/>
          <p:cNvSpPr>
            <a:spLocks noGrp="1"/>
          </p:cNvSpPr>
          <p:nvPr>
            <p:ph idx="1"/>
          </p:nvPr>
        </p:nvSpPr>
        <p:spPr/>
        <p:txBody>
          <a:bodyPr/>
          <a:lstStyle/>
          <a:p>
            <a:r>
              <a:rPr lang="en-US"/>
              <a:t>Ansible Automation Platform</a:t>
            </a:r>
            <a:r>
              <a:rPr lang="en-US" dirty="0"/>
              <a:t> (SOE)</a:t>
            </a:r>
            <a:endParaRPr lang="en-US"/>
          </a:p>
          <a:p>
            <a:r>
              <a:rPr lang="en-US" err="1"/>
              <a:t>Shib</a:t>
            </a:r>
            <a:r>
              <a:rPr lang="en-US"/>
              <a:t>/SSO – no more 30 minute </a:t>
            </a:r>
            <a:r>
              <a:rPr lang="en-US" dirty="0"/>
              <a:t>delay</a:t>
            </a:r>
            <a:endParaRPr lang="en-US"/>
          </a:p>
          <a:p>
            <a:r>
              <a:rPr lang="en-US"/>
              <a:t>DMARC Implementation</a:t>
            </a:r>
          </a:p>
          <a:p>
            <a:r>
              <a:rPr lang="en-US"/>
              <a:t>Voice Upgrade (New CUBE’s)</a:t>
            </a:r>
          </a:p>
          <a:p>
            <a:r>
              <a:rPr lang="en-US" dirty="0"/>
              <a:t>Microsoft Services Hub</a:t>
            </a:r>
            <a:endParaRPr lang="en-US"/>
          </a:p>
          <a:p>
            <a:endParaRPr lang="en-US"/>
          </a:p>
          <a:p>
            <a:endParaRPr lang="en-US"/>
          </a:p>
        </p:txBody>
      </p:sp>
      <p:sp>
        <p:nvSpPr>
          <p:cNvPr id="5" name="TextBox 4">
            <a:extLst>
              <a:ext uri="{FF2B5EF4-FFF2-40B4-BE49-F238E27FC236}">
                <a16:creationId xmlns:a16="http://schemas.microsoft.com/office/drawing/2014/main" id="{98FD0876-0A3A-E6E5-6B27-0ABE6B84ED4B}"/>
              </a:ext>
            </a:extLst>
          </p:cNvPr>
          <p:cNvSpPr txBox="1"/>
          <p:nvPr/>
        </p:nvSpPr>
        <p:spPr>
          <a:xfrm>
            <a:off x="7848110" y="4695647"/>
            <a:ext cx="1969477" cy="584775"/>
          </a:xfrm>
          <a:prstGeom prst="rect">
            <a:avLst/>
          </a:prstGeom>
          <a:noFill/>
        </p:spPr>
        <p:txBody>
          <a:bodyPr wrap="square" rtlCol="0">
            <a:spAutoFit/>
          </a:bodyPr>
          <a:lstStyle/>
          <a:p>
            <a:r>
              <a:rPr lang="en-US" sz="1400" dirty="0"/>
              <a:t>Craig Jackson</a:t>
            </a:r>
          </a:p>
          <a:p>
            <a:endParaRPr lang="en-US" dirty="0"/>
          </a:p>
        </p:txBody>
      </p:sp>
    </p:spTree>
    <p:extLst>
      <p:ext uri="{BB962C8B-B14F-4D97-AF65-F5344CB8AC3E}">
        <p14:creationId xmlns:p14="http://schemas.microsoft.com/office/powerpoint/2010/main" val="15113180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normAutofit/>
          </a:bodyPr>
          <a:lstStyle/>
          <a:p>
            <a:r>
              <a:rPr lang="en-US"/>
              <a:t>RCAB &amp; BNIA</a:t>
            </a:r>
            <a:endParaRPr lang="en-US" sz="2700"/>
          </a:p>
        </p:txBody>
      </p:sp>
      <p:sp>
        <p:nvSpPr>
          <p:cNvPr id="3" name="Content Placeholder 2"/>
          <p:cNvSpPr>
            <a:spLocks noGrp="1"/>
          </p:cNvSpPr>
          <p:nvPr>
            <p:ph idx="1"/>
          </p:nvPr>
        </p:nvSpPr>
        <p:spPr/>
        <p:txBody>
          <a:bodyPr>
            <a:normAutofit/>
          </a:bodyPr>
          <a:lstStyle/>
          <a:p>
            <a:r>
              <a:rPr lang="en-US"/>
              <a:t>HPC - $420,000 grant money </a:t>
            </a:r>
          </a:p>
          <a:p>
            <a:r>
              <a:rPr lang="en-US"/>
              <a:t>AR/VR</a:t>
            </a:r>
          </a:p>
          <a:p>
            <a:pPr lvl="1"/>
            <a:r>
              <a:rPr lang="en-US"/>
              <a:t>Second Zero2Hero Session</a:t>
            </a:r>
          </a:p>
          <a:p>
            <a:pPr lvl="1"/>
            <a:r>
              <a:rPr lang="en-US"/>
              <a:t>VR-Assisted </a:t>
            </a:r>
            <a:r>
              <a:rPr lang="en-US" dirty="0"/>
              <a:t>Scenario-Based Learning Grant</a:t>
            </a:r>
            <a:endParaRPr lang="en-US"/>
          </a:p>
          <a:p>
            <a:r>
              <a:rPr lang="en-US"/>
              <a:t>Central IL Cybersecurity Summit</a:t>
            </a:r>
          </a:p>
          <a:p>
            <a:endParaRPr lang="en-US"/>
          </a:p>
        </p:txBody>
      </p:sp>
      <p:sp>
        <p:nvSpPr>
          <p:cNvPr id="5" name="TextBox 4">
            <a:extLst>
              <a:ext uri="{FF2B5EF4-FFF2-40B4-BE49-F238E27FC236}">
                <a16:creationId xmlns:a16="http://schemas.microsoft.com/office/drawing/2014/main" id="{655FC7F7-6269-B55C-A174-2312627B638E}"/>
              </a:ext>
            </a:extLst>
          </p:cNvPr>
          <p:cNvSpPr txBox="1"/>
          <p:nvPr/>
        </p:nvSpPr>
        <p:spPr>
          <a:xfrm>
            <a:off x="7848110" y="4695647"/>
            <a:ext cx="1969477" cy="584775"/>
          </a:xfrm>
          <a:prstGeom prst="rect">
            <a:avLst/>
          </a:prstGeom>
          <a:noFill/>
        </p:spPr>
        <p:txBody>
          <a:bodyPr wrap="square" rtlCol="0">
            <a:spAutoFit/>
          </a:bodyPr>
          <a:lstStyle/>
          <a:p>
            <a:r>
              <a:rPr lang="en-US" sz="1400" dirty="0"/>
              <a:t>Craig Jackson</a:t>
            </a:r>
          </a:p>
          <a:p>
            <a:endParaRPr lang="en-US" dirty="0"/>
          </a:p>
        </p:txBody>
      </p:sp>
    </p:spTree>
    <p:extLst>
      <p:ext uri="{BB962C8B-B14F-4D97-AF65-F5344CB8AC3E}">
        <p14:creationId xmlns:p14="http://schemas.microsoft.com/office/powerpoint/2010/main" val="42598063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09ABC-9A40-FBF4-D579-25CCE965B1D2}"/>
              </a:ext>
            </a:extLst>
          </p:cNvPr>
          <p:cNvSpPr>
            <a:spLocks noGrp="1"/>
          </p:cNvSpPr>
          <p:nvPr>
            <p:ph type="title"/>
          </p:nvPr>
        </p:nvSpPr>
        <p:spPr>
          <a:xfrm>
            <a:off x="457200" y="59675"/>
            <a:ext cx="8229600" cy="857250"/>
          </a:xfrm>
        </p:spPr>
        <p:txBody>
          <a:bodyPr>
            <a:normAutofit/>
          </a:bodyPr>
          <a:lstStyle/>
          <a:p>
            <a:pPr algn="l"/>
            <a:r>
              <a:rPr lang="en-US" sz="3600" dirty="0"/>
              <a:t>Uniform web presence</a:t>
            </a:r>
          </a:p>
        </p:txBody>
      </p:sp>
      <p:sp>
        <p:nvSpPr>
          <p:cNvPr id="3" name="Content Placeholder 2">
            <a:extLst>
              <a:ext uri="{FF2B5EF4-FFF2-40B4-BE49-F238E27FC236}">
                <a16:creationId xmlns:a16="http://schemas.microsoft.com/office/drawing/2014/main" id="{1C0E25B5-FDF3-ACA8-8325-2B55D3AABD22}"/>
              </a:ext>
            </a:extLst>
          </p:cNvPr>
          <p:cNvSpPr>
            <a:spLocks noGrp="1"/>
          </p:cNvSpPr>
          <p:nvPr>
            <p:ph idx="1"/>
          </p:nvPr>
        </p:nvSpPr>
        <p:spPr>
          <a:xfrm>
            <a:off x="457200" y="905256"/>
            <a:ext cx="8229600" cy="3625359"/>
          </a:xfrm>
        </p:spPr>
        <p:txBody>
          <a:bodyPr>
            <a:normAutofit/>
          </a:bodyPr>
          <a:lstStyle/>
          <a:p>
            <a:r>
              <a:rPr lang="en-US" sz="2400" dirty="0"/>
              <a:t>110 websites completed</a:t>
            </a:r>
          </a:p>
          <a:p>
            <a:r>
              <a:rPr lang="en-US" sz="2400" dirty="0"/>
              <a:t>15 websites in progress</a:t>
            </a:r>
          </a:p>
          <a:p>
            <a:r>
              <a:rPr lang="en-US" sz="2400" dirty="0"/>
              <a:t>18 websites remaining</a:t>
            </a:r>
          </a:p>
        </p:txBody>
      </p:sp>
      <p:pic>
        <p:nvPicPr>
          <p:cNvPr id="5" name="Picture 4">
            <a:extLst>
              <a:ext uri="{FF2B5EF4-FFF2-40B4-BE49-F238E27FC236}">
                <a16:creationId xmlns:a16="http://schemas.microsoft.com/office/drawing/2014/main" id="{4E866C4F-E50E-2408-1DA4-C3E4D3FB815C}"/>
              </a:ext>
            </a:extLst>
          </p:cNvPr>
          <p:cNvPicPr>
            <a:picLocks noChangeAspect="1"/>
          </p:cNvPicPr>
          <p:nvPr/>
        </p:nvPicPr>
        <p:blipFill>
          <a:blip r:embed="rId2"/>
          <a:stretch>
            <a:fillRect/>
          </a:stretch>
        </p:blipFill>
        <p:spPr>
          <a:xfrm>
            <a:off x="128016" y="2316749"/>
            <a:ext cx="5340096" cy="2707879"/>
          </a:xfrm>
          <a:prstGeom prst="rect">
            <a:avLst/>
          </a:prstGeom>
          <a:ln>
            <a:solidFill>
              <a:srgbClr val="FF0000"/>
            </a:solidFill>
          </a:ln>
        </p:spPr>
      </p:pic>
      <p:pic>
        <p:nvPicPr>
          <p:cNvPr id="7" name="Picture 6">
            <a:extLst>
              <a:ext uri="{FF2B5EF4-FFF2-40B4-BE49-F238E27FC236}">
                <a16:creationId xmlns:a16="http://schemas.microsoft.com/office/drawing/2014/main" id="{C304E90C-F791-F938-22F8-9FAE1ABBA13D}"/>
              </a:ext>
            </a:extLst>
          </p:cNvPr>
          <p:cNvPicPr>
            <a:picLocks noChangeAspect="1"/>
          </p:cNvPicPr>
          <p:nvPr/>
        </p:nvPicPr>
        <p:blipFill>
          <a:blip r:embed="rId3"/>
          <a:stretch>
            <a:fillRect/>
          </a:stretch>
        </p:blipFill>
        <p:spPr>
          <a:xfrm>
            <a:off x="5588145" y="82296"/>
            <a:ext cx="3472060" cy="4814316"/>
          </a:xfrm>
          <a:prstGeom prst="rect">
            <a:avLst/>
          </a:prstGeom>
          <a:ln>
            <a:solidFill>
              <a:srgbClr val="FF0000"/>
            </a:solidFill>
          </a:ln>
        </p:spPr>
      </p:pic>
    </p:spTree>
    <p:extLst>
      <p:ext uri="{BB962C8B-B14F-4D97-AF65-F5344CB8AC3E}">
        <p14:creationId xmlns:p14="http://schemas.microsoft.com/office/powerpoint/2010/main" val="34254980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70DC0B1-169E-695E-EFAB-23E860CCB2C2}"/>
              </a:ext>
            </a:extLst>
          </p:cNvPr>
          <p:cNvSpPr txBox="1">
            <a:spLocks/>
          </p:cNvSpPr>
          <p:nvPr/>
        </p:nvSpPr>
        <p:spPr>
          <a:xfrm>
            <a:off x="146304" y="4811"/>
            <a:ext cx="8741664" cy="85725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600" dirty="0" err="1"/>
              <a:t>My.IllinoisState</a:t>
            </a:r>
            <a:r>
              <a:rPr lang="en-US" sz="3600" dirty="0"/>
              <a:t> – Reimagined UX Design</a:t>
            </a:r>
          </a:p>
        </p:txBody>
      </p:sp>
      <p:pic>
        <p:nvPicPr>
          <p:cNvPr id="8" name="Picture 7">
            <a:extLst>
              <a:ext uri="{FF2B5EF4-FFF2-40B4-BE49-F238E27FC236}">
                <a16:creationId xmlns:a16="http://schemas.microsoft.com/office/drawing/2014/main" id="{FC055A7F-A150-A663-84B0-5075D6323ABD}"/>
              </a:ext>
            </a:extLst>
          </p:cNvPr>
          <p:cNvPicPr>
            <a:picLocks noChangeAspect="1"/>
          </p:cNvPicPr>
          <p:nvPr/>
        </p:nvPicPr>
        <p:blipFill>
          <a:blip r:embed="rId2"/>
          <a:stretch>
            <a:fillRect/>
          </a:stretch>
        </p:blipFill>
        <p:spPr>
          <a:xfrm>
            <a:off x="1446036" y="772483"/>
            <a:ext cx="6251927" cy="4366206"/>
          </a:xfrm>
          <a:prstGeom prst="rect">
            <a:avLst/>
          </a:prstGeom>
          <a:ln>
            <a:solidFill>
              <a:srgbClr val="FF0000"/>
            </a:solidFill>
          </a:ln>
        </p:spPr>
      </p:pic>
      <p:sp>
        <p:nvSpPr>
          <p:cNvPr id="2" name="TextBox 1">
            <a:extLst>
              <a:ext uri="{FF2B5EF4-FFF2-40B4-BE49-F238E27FC236}">
                <a16:creationId xmlns:a16="http://schemas.microsoft.com/office/drawing/2014/main" id="{721F817B-3F4C-CF2A-C28C-80BBCF7BEF74}"/>
              </a:ext>
            </a:extLst>
          </p:cNvPr>
          <p:cNvSpPr txBox="1"/>
          <p:nvPr/>
        </p:nvSpPr>
        <p:spPr>
          <a:xfrm>
            <a:off x="7848110" y="4695647"/>
            <a:ext cx="1969477" cy="584775"/>
          </a:xfrm>
          <a:prstGeom prst="rect">
            <a:avLst/>
          </a:prstGeom>
          <a:noFill/>
        </p:spPr>
        <p:txBody>
          <a:bodyPr wrap="square" rtlCol="0">
            <a:spAutoFit/>
          </a:bodyPr>
          <a:lstStyle/>
          <a:p>
            <a:r>
              <a:rPr lang="en-US" sz="1400" dirty="0"/>
              <a:t>Arturo Ramirez</a:t>
            </a:r>
          </a:p>
          <a:p>
            <a:endParaRPr lang="en-US" dirty="0"/>
          </a:p>
        </p:txBody>
      </p:sp>
    </p:spTree>
    <p:extLst>
      <p:ext uri="{BB962C8B-B14F-4D97-AF65-F5344CB8AC3E}">
        <p14:creationId xmlns:p14="http://schemas.microsoft.com/office/powerpoint/2010/main" val="39656711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a:xfrm>
            <a:off x="454298" y="0"/>
            <a:ext cx="8229600" cy="857250"/>
          </a:xfrm>
        </p:spPr>
        <p:txBody>
          <a:bodyPr/>
          <a:lstStyle/>
          <a:p>
            <a:r>
              <a:rPr lang="en-US" dirty="0"/>
              <a:t>Windows 11 Strategy</a:t>
            </a:r>
          </a:p>
        </p:txBody>
      </p:sp>
      <p:sp>
        <p:nvSpPr>
          <p:cNvPr id="7" name="Content Placeholder 6">
            <a:extLst>
              <a:ext uri="{FF2B5EF4-FFF2-40B4-BE49-F238E27FC236}">
                <a16:creationId xmlns:a16="http://schemas.microsoft.com/office/drawing/2014/main" id="{C35459E1-4C4E-B6DB-4EFE-337D35F2842E}"/>
              </a:ext>
            </a:extLst>
          </p:cNvPr>
          <p:cNvSpPr>
            <a:spLocks noGrp="1"/>
          </p:cNvSpPr>
          <p:nvPr>
            <p:ph idx="1"/>
          </p:nvPr>
        </p:nvSpPr>
        <p:spPr>
          <a:xfrm>
            <a:off x="454298" y="962429"/>
            <a:ext cx="8229600" cy="3531394"/>
          </a:xfrm>
        </p:spPr>
        <p:txBody>
          <a:bodyPr>
            <a:normAutofit fontScale="77500" lnSpcReduction="20000"/>
          </a:bodyPr>
          <a:lstStyle/>
          <a:p>
            <a:pPr marL="0" indent="0">
              <a:buNone/>
            </a:pPr>
            <a:r>
              <a:rPr lang="en-US" dirty="0"/>
              <a:t>Windows 11 Campus Implementation Strategy Group recommendations</a:t>
            </a:r>
          </a:p>
          <a:p>
            <a:pPr lvl="1">
              <a:buFont typeface="Arial" panose="020B0604020202020204" pitchFamily="34" charset="0"/>
              <a:buChar char="•"/>
            </a:pPr>
            <a:r>
              <a:rPr lang="en-US" dirty="0"/>
              <a:t>Review data for hardware readiness</a:t>
            </a:r>
          </a:p>
          <a:p>
            <a:pPr lvl="1">
              <a:buFont typeface="Arial" panose="020B0604020202020204" pitchFamily="34" charset="0"/>
              <a:buChar char="•"/>
            </a:pPr>
            <a:r>
              <a:rPr lang="en-US" dirty="0"/>
              <a:t>Attrition preferred for upgrades, but in place where necessary</a:t>
            </a:r>
          </a:p>
          <a:p>
            <a:pPr lvl="1">
              <a:buFont typeface="Arial" panose="020B0604020202020204" pitchFamily="34" charset="0"/>
              <a:buChar char="•"/>
            </a:pPr>
            <a:r>
              <a:rPr lang="en-US" dirty="0"/>
              <a:t>All supported machines should be managed by SCCM, and recommended to utilize ISU Build</a:t>
            </a:r>
          </a:p>
          <a:p>
            <a:pPr lvl="1">
              <a:buFont typeface="Arial" panose="020B0604020202020204" pitchFamily="34" charset="0"/>
              <a:buChar char="•"/>
            </a:pPr>
            <a:r>
              <a:rPr lang="en-US" dirty="0"/>
              <a:t>Purchase Windows Pro with Autopilot as a future proof</a:t>
            </a:r>
          </a:p>
          <a:p>
            <a:pPr lvl="1">
              <a:buFont typeface="Arial" panose="020B0604020202020204" pitchFamily="34" charset="0"/>
              <a:buChar char="•"/>
            </a:pPr>
            <a:r>
              <a:rPr lang="en-US" dirty="0"/>
              <a:t>ISU should develop a standardized and consolidated purchasing model for equipment to ensure equitable lifecycles for all</a:t>
            </a:r>
          </a:p>
          <a:p>
            <a:pPr lvl="1"/>
            <a:endParaRPr lang="en-US" dirty="0"/>
          </a:p>
          <a:p>
            <a:endParaRPr lang="en-US" dirty="0"/>
          </a:p>
        </p:txBody>
      </p:sp>
      <p:sp>
        <p:nvSpPr>
          <p:cNvPr id="3" name="TextBox 2">
            <a:extLst>
              <a:ext uri="{FF2B5EF4-FFF2-40B4-BE49-F238E27FC236}">
                <a16:creationId xmlns:a16="http://schemas.microsoft.com/office/drawing/2014/main" id="{908D52BF-7772-2867-7C40-D9D8BA80A419}"/>
              </a:ext>
            </a:extLst>
          </p:cNvPr>
          <p:cNvSpPr txBox="1"/>
          <p:nvPr/>
        </p:nvSpPr>
        <p:spPr>
          <a:xfrm>
            <a:off x="7646510" y="4731647"/>
            <a:ext cx="1969477" cy="584775"/>
          </a:xfrm>
          <a:prstGeom prst="rect">
            <a:avLst/>
          </a:prstGeom>
          <a:noFill/>
        </p:spPr>
        <p:txBody>
          <a:bodyPr wrap="square" rtlCol="0">
            <a:spAutoFit/>
          </a:bodyPr>
          <a:lstStyle/>
          <a:p>
            <a:r>
              <a:rPr lang="en-US" sz="1400" dirty="0"/>
              <a:t>Carla Birckelbaw</a:t>
            </a:r>
          </a:p>
          <a:p>
            <a:endParaRPr lang="en-US" dirty="0"/>
          </a:p>
        </p:txBody>
      </p:sp>
    </p:spTree>
    <p:extLst>
      <p:ext uri="{BB962C8B-B14F-4D97-AF65-F5344CB8AC3E}">
        <p14:creationId xmlns:p14="http://schemas.microsoft.com/office/powerpoint/2010/main" val="27004759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dirty="0"/>
              <a:t>Windows 11 Key Dates</a:t>
            </a:r>
          </a:p>
        </p:txBody>
      </p:sp>
      <p:sp>
        <p:nvSpPr>
          <p:cNvPr id="7" name="Content Placeholder 6">
            <a:extLst>
              <a:ext uri="{FF2B5EF4-FFF2-40B4-BE49-F238E27FC236}">
                <a16:creationId xmlns:a16="http://schemas.microsoft.com/office/drawing/2014/main" id="{C35459E1-4C4E-B6DB-4EFE-337D35F2842E}"/>
              </a:ext>
            </a:extLst>
          </p:cNvPr>
          <p:cNvSpPr>
            <a:spLocks noGrp="1"/>
          </p:cNvSpPr>
          <p:nvPr>
            <p:ph idx="1"/>
          </p:nvPr>
        </p:nvSpPr>
        <p:spPr/>
        <p:txBody>
          <a:bodyPr/>
          <a:lstStyle/>
          <a:p>
            <a:r>
              <a:rPr lang="en-US" dirty="0"/>
              <a:t>Great news! We are already 23% complete  </a:t>
            </a:r>
          </a:p>
          <a:p>
            <a:r>
              <a:rPr lang="en-US" dirty="0"/>
              <a:t>Good news: Current final date for Windows 10 support is </a:t>
            </a:r>
            <a:r>
              <a:rPr lang="en-US" b="1" dirty="0"/>
              <a:t>10/14/25</a:t>
            </a:r>
          </a:p>
          <a:p>
            <a:r>
              <a:rPr lang="en-US" dirty="0"/>
              <a:t>Not so good news: 37% of our devices are on Windows 10 21H2, which is EOS </a:t>
            </a:r>
            <a:r>
              <a:rPr lang="en-US" b="1" dirty="0"/>
              <a:t>6/11/24</a:t>
            </a:r>
          </a:p>
          <a:p>
            <a:endParaRPr lang="en-US" dirty="0"/>
          </a:p>
        </p:txBody>
      </p:sp>
      <p:sp>
        <p:nvSpPr>
          <p:cNvPr id="3" name="TextBox 2">
            <a:extLst>
              <a:ext uri="{FF2B5EF4-FFF2-40B4-BE49-F238E27FC236}">
                <a16:creationId xmlns:a16="http://schemas.microsoft.com/office/drawing/2014/main" id="{908D52BF-7772-2867-7C40-D9D8BA80A419}"/>
              </a:ext>
            </a:extLst>
          </p:cNvPr>
          <p:cNvSpPr txBox="1"/>
          <p:nvPr/>
        </p:nvSpPr>
        <p:spPr>
          <a:xfrm>
            <a:off x="7646510" y="4731647"/>
            <a:ext cx="1969477" cy="584775"/>
          </a:xfrm>
          <a:prstGeom prst="rect">
            <a:avLst/>
          </a:prstGeom>
          <a:noFill/>
        </p:spPr>
        <p:txBody>
          <a:bodyPr wrap="square" rtlCol="0">
            <a:spAutoFit/>
          </a:bodyPr>
          <a:lstStyle/>
          <a:p>
            <a:r>
              <a:rPr lang="en-US" sz="1400" dirty="0"/>
              <a:t>Carla Birckelbaw</a:t>
            </a:r>
          </a:p>
          <a:p>
            <a:endParaRPr lang="en-US" dirty="0"/>
          </a:p>
        </p:txBody>
      </p:sp>
      <p:pic>
        <p:nvPicPr>
          <p:cNvPr id="2050" name="Picture 2" descr="Free Check Mark With Transparent Background, Download Free ...">
            <a:extLst>
              <a:ext uri="{FF2B5EF4-FFF2-40B4-BE49-F238E27FC236}">
                <a16:creationId xmlns:a16="http://schemas.microsoft.com/office/drawing/2014/main" id="{5AA55665-3A54-EC80-B009-C4696E8C85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9550" y="963638"/>
            <a:ext cx="857250" cy="857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77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Lab Prep for Fall</a:t>
            </a:r>
          </a:p>
        </p:txBody>
      </p:sp>
      <p:sp>
        <p:nvSpPr>
          <p:cNvPr id="8" name="Content Placeholder 7">
            <a:extLst>
              <a:ext uri="{FF2B5EF4-FFF2-40B4-BE49-F238E27FC236}">
                <a16:creationId xmlns:a16="http://schemas.microsoft.com/office/drawing/2014/main" id="{037ACB3E-D62B-5497-84A3-5C2C4ADD4979}"/>
              </a:ext>
            </a:extLst>
          </p:cNvPr>
          <p:cNvSpPr>
            <a:spLocks noGrp="1"/>
          </p:cNvSpPr>
          <p:nvPr>
            <p:ph idx="1"/>
          </p:nvPr>
        </p:nvSpPr>
        <p:spPr/>
        <p:txBody>
          <a:bodyPr/>
          <a:lstStyle/>
          <a:p>
            <a:r>
              <a:rPr lang="en-US" dirty="0"/>
              <a:t>Reminder to get all lab machines into LabStats</a:t>
            </a:r>
          </a:p>
          <a:p>
            <a:r>
              <a:rPr lang="en-US" dirty="0"/>
              <a:t>TSC will update student-facing lab KBs with info from LabStats on number of machines, hours, </a:t>
            </a:r>
            <a:r>
              <a:rPr lang="en-US" dirty="0" err="1"/>
              <a:t>uPrint</a:t>
            </a:r>
            <a:r>
              <a:rPr lang="en-US" dirty="0"/>
              <a:t> options</a:t>
            </a:r>
          </a:p>
        </p:txBody>
      </p:sp>
      <p:sp>
        <p:nvSpPr>
          <p:cNvPr id="3" name="TextBox 2">
            <a:extLst>
              <a:ext uri="{FF2B5EF4-FFF2-40B4-BE49-F238E27FC236}">
                <a16:creationId xmlns:a16="http://schemas.microsoft.com/office/drawing/2014/main" id="{908D52BF-7772-2867-7C40-D9D8BA80A419}"/>
              </a:ext>
            </a:extLst>
          </p:cNvPr>
          <p:cNvSpPr txBox="1"/>
          <p:nvPr/>
        </p:nvSpPr>
        <p:spPr>
          <a:xfrm>
            <a:off x="7646510" y="4731647"/>
            <a:ext cx="1969477" cy="584775"/>
          </a:xfrm>
          <a:prstGeom prst="rect">
            <a:avLst/>
          </a:prstGeom>
          <a:noFill/>
        </p:spPr>
        <p:txBody>
          <a:bodyPr wrap="square" rtlCol="0">
            <a:spAutoFit/>
          </a:bodyPr>
          <a:lstStyle/>
          <a:p>
            <a:r>
              <a:rPr lang="en-US" sz="1400" dirty="0"/>
              <a:t>Carla Birckelbaw</a:t>
            </a:r>
          </a:p>
          <a:p>
            <a:endParaRPr lang="en-US" dirty="0"/>
          </a:p>
        </p:txBody>
      </p:sp>
    </p:spTree>
    <p:extLst>
      <p:ext uri="{BB962C8B-B14F-4D97-AF65-F5344CB8AC3E}">
        <p14:creationId xmlns:p14="http://schemas.microsoft.com/office/powerpoint/2010/main" val="33979401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normAutofit/>
          </a:bodyPr>
          <a:lstStyle/>
          <a:p>
            <a:r>
              <a:rPr lang="en-US" sz="3600" dirty="0"/>
              <a:t>Information Security Brief</a:t>
            </a:r>
          </a:p>
        </p:txBody>
      </p:sp>
      <p:sp>
        <p:nvSpPr>
          <p:cNvPr id="11" name="TextBox 10">
            <a:extLst>
              <a:ext uri="{FF2B5EF4-FFF2-40B4-BE49-F238E27FC236}">
                <a16:creationId xmlns:a16="http://schemas.microsoft.com/office/drawing/2014/main" id="{16BCB9E1-70F0-258B-F580-10B5E80FD740}"/>
              </a:ext>
            </a:extLst>
          </p:cNvPr>
          <p:cNvSpPr txBox="1"/>
          <p:nvPr/>
        </p:nvSpPr>
        <p:spPr>
          <a:xfrm>
            <a:off x="558437" y="3115468"/>
            <a:ext cx="3661162" cy="400110"/>
          </a:xfrm>
          <a:prstGeom prst="rect">
            <a:avLst/>
          </a:prstGeom>
          <a:noFill/>
        </p:spPr>
        <p:txBody>
          <a:bodyPr wrap="square" rtlCol="0">
            <a:spAutoFit/>
          </a:bodyPr>
          <a:lstStyle/>
          <a:p>
            <a:pPr marL="0" marR="0" lvl="0" indent="0" algn="ctr" defTabSz="61232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Dan Taube</a:t>
            </a:r>
          </a:p>
        </p:txBody>
      </p:sp>
      <p:sp>
        <p:nvSpPr>
          <p:cNvPr id="12" name="TextBox 11">
            <a:extLst>
              <a:ext uri="{FF2B5EF4-FFF2-40B4-BE49-F238E27FC236}">
                <a16:creationId xmlns:a16="http://schemas.microsoft.com/office/drawing/2014/main" id="{D0A264F0-FF4C-9A68-7CCC-DAD095E8539D}"/>
              </a:ext>
            </a:extLst>
          </p:cNvPr>
          <p:cNvSpPr txBox="1"/>
          <p:nvPr/>
        </p:nvSpPr>
        <p:spPr>
          <a:xfrm>
            <a:off x="614126" y="3537457"/>
            <a:ext cx="3565889" cy="338554"/>
          </a:xfrm>
          <a:prstGeom prst="rect">
            <a:avLst/>
          </a:prstGeom>
          <a:noFill/>
        </p:spPr>
        <p:txBody>
          <a:bodyPr wrap="square" rtlCol="0">
            <a:spAutoFit/>
          </a:bodyPr>
          <a:lstStyle/>
          <a:p>
            <a:pPr marL="0" marR="0" lvl="0" indent="0" algn="ctr" defTabSz="612328"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Chief Information Security Officer (CISO)</a:t>
            </a:r>
          </a:p>
        </p:txBody>
      </p:sp>
      <p:pic>
        <p:nvPicPr>
          <p:cNvPr id="13" name="Picture 12" descr="A person smiling for the camera&#10;&#10;Description automatically generated with medium confidence">
            <a:extLst>
              <a:ext uri="{FF2B5EF4-FFF2-40B4-BE49-F238E27FC236}">
                <a16:creationId xmlns:a16="http://schemas.microsoft.com/office/drawing/2014/main" id="{53E881F3-03E8-AA09-F72A-DB5055476D6B}"/>
              </a:ext>
            </a:extLst>
          </p:cNvPr>
          <p:cNvPicPr>
            <a:picLocks noChangeAspect="1"/>
          </p:cNvPicPr>
          <p:nvPr/>
        </p:nvPicPr>
        <p:blipFill rotWithShape="1">
          <a:blip r:embed="rId4"/>
          <a:srcRect t="13464" r="15090" b="23581"/>
          <a:stretch/>
        </p:blipFill>
        <p:spPr>
          <a:xfrm>
            <a:off x="1579485" y="1377554"/>
            <a:ext cx="1635173" cy="1617142"/>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p:spPr>
      </p:pic>
      <p:sp>
        <p:nvSpPr>
          <p:cNvPr id="14" name="TextBox 13">
            <a:extLst>
              <a:ext uri="{FF2B5EF4-FFF2-40B4-BE49-F238E27FC236}">
                <a16:creationId xmlns:a16="http://schemas.microsoft.com/office/drawing/2014/main" id="{6E86F7D9-B55B-0CB7-888A-857986C33F66}"/>
              </a:ext>
            </a:extLst>
          </p:cNvPr>
          <p:cNvSpPr txBox="1"/>
          <p:nvPr/>
        </p:nvSpPr>
        <p:spPr>
          <a:xfrm>
            <a:off x="4348128" y="1401295"/>
            <a:ext cx="4384741" cy="1569660"/>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IAM Enhancement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hreat Landscape</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Program Vision</a:t>
            </a:r>
          </a:p>
        </p:txBody>
      </p:sp>
      <p:sp>
        <p:nvSpPr>
          <p:cNvPr id="3" name="TextBox 2">
            <a:extLst>
              <a:ext uri="{FF2B5EF4-FFF2-40B4-BE49-F238E27FC236}">
                <a16:creationId xmlns:a16="http://schemas.microsoft.com/office/drawing/2014/main" id="{1A4FC04E-B527-D909-8F36-240495732ED0}"/>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33264806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normAutofit/>
          </a:bodyPr>
          <a:lstStyle/>
          <a:p>
            <a:r>
              <a:rPr lang="en-US" sz="3200" dirty="0"/>
              <a:t>Identity and Access Management</a:t>
            </a:r>
          </a:p>
        </p:txBody>
      </p:sp>
      <p:pic>
        <p:nvPicPr>
          <p:cNvPr id="7" name="Picture 6">
            <a:extLst>
              <a:ext uri="{FF2B5EF4-FFF2-40B4-BE49-F238E27FC236}">
                <a16:creationId xmlns:a16="http://schemas.microsoft.com/office/drawing/2014/main" id="{DB71EEA6-7965-F82E-E219-0E902D904594}"/>
              </a:ext>
            </a:extLst>
          </p:cNvPr>
          <p:cNvPicPr>
            <a:picLocks noChangeAspect="1"/>
          </p:cNvPicPr>
          <p:nvPr/>
        </p:nvPicPr>
        <p:blipFill>
          <a:blip r:embed="rId4"/>
          <a:stretch>
            <a:fillRect/>
          </a:stretch>
        </p:blipFill>
        <p:spPr>
          <a:xfrm>
            <a:off x="499953" y="1598688"/>
            <a:ext cx="2587788" cy="2401812"/>
          </a:xfrm>
          <a:prstGeom prst="rect">
            <a:avLst/>
          </a:prstGeom>
          <a:ln>
            <a:solidFill>
              <a:schemeClr val="tx1"/>
            </a:solidFill>
          </a:ln>
        </p:spPr>
      </p:pic>
      <p:sp>
        <p:nvSpPr>
          <p:cNvPr id="16" name="TextBox 15">
            <a:extLst>
              <a:ext uri="{FF2B5EF4-FFF2-40B4-BE49-F238E27FC236}">
                <a16:creationId xmlns:a16="http://schemas.microsoft.com/office/drawing/2014/main" id="{68A642F8-3FEA-4257-8F2D-3EA1B1DE72BA}"/>
              </a:ext>
            </a:extLst>
          </p:cNvPr>
          <p:cNvSpPr txBox="1"/>
          <p:nvPr/>
        </p:nvSpPr>
        <p:spPr>
          <a:xfrm>
            <a:off x="3190875" y="1467744"/>
            <a:ext cx="5715000" cy="255454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New Account Self Servic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revents use of known breached password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places recovery questions with emailed verification co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rovides modern codebase and user experien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New Identity Syste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dentity data fabric that ensures accuracy and enables innov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Modern infrastructure with substantially greater performanc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highlight>
                  <a:srgbClr val="FFFF00"/>
                </a:highlight>
                <a:uLnTx/>
                <a:uFillTx/>
                <a:latin typeface="Calibri"/>
                <a:ea typeface="+mn-ea"/>
                <a:cs typeface="+mn-cs"/>
              </a:rPr>
              <a:t>Instant access back to M365 post-expiration password change</a:t>
            </a:r>
          </a:p>
        </p:txBody>
      </p:sp>
      <p:sp>
        <p:nvSpPr>
          <p:cNvPr id="17" name="TextBox 16">
            <a:extLst>
              <a:ext uri="{FF2B5EF4-FFF2-40B4-BE49-F238E27FC236}">
                <a16:creationId xmlns:a16="http://schemas.microsoft.com/office/drawing/2014/main" id="{5BA9B600-8B07-76AF-8648-F899E256B44B}"/>
              </a:ext>
            </a:extLst>
          </p:cNvPr>
          <p:cNvSpPr txBox="1"/>
          <p:nvPr/>
        </p:nvSpPr>
        <p:spPr>
          <a:xfrm>
            <a:off x="499953" y="989767"/>
            <a:ext cx="8137252"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ew Design, Systems, and Capabilities</a:t>
            </a:r>
          </a:p>
        </p:txBody>
      </p:sp>
      <p:sp>
        <p:nvSpPr>
          <p:cNvPr id="3" name="TextBox 2">
            <a:extLst>
              <a:ext uri="{FF2B5EF4-FFF2-40B4-BE49-F238E27FC236}">
                <a16:creationId xmlns:a16="http://schemas.microsoft.com/office/drawing/2014/main" id="{30459815-6BBE-688C-9236-0A1A65D5AE4D}"/>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515108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7" name="TextBox 6">
            <a:extLst>
              <a:ext uri="{FF2B5EF4-FFF2-40B4-BE49-F238E27FC236}">
                <a16:creationId xmlns:a16="http://schemas.microsoft.com/office/drawing/2014/main" id="{B2B446E1-4910-1C38-1D8C-8EF2D590C1DB}"/>
              </a:ext>
            </a:extLst>
          </p:cNvPr>
          <p:cNvSpPr txBox="1"/>
          <p:nvPr/>
        </p:nvSpPr>
        <p:spPr>
          <a:xfrm>
            <a:off x="2254523" y="989767"/>
            <a:ext cx="4629150"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udience Poll</a:t>
            </a:r>
          </a:p>
        </p:txBody>
      </p:sp>
      <p:sp>
        <p:nvSpPr>
          <p:cNvPr id="26" name="Title 1">
            <a:extLst>
              <a:ext uri="{FF2B5EF4-FFF2-40B4-BE49-F238E27FC236}">
                <a16:creationId xmlns:a16="http://schemas.microsoft.com/office/drawing/2014/main" id="{D660B109-70A5-155B-B539-1880CAD1D1CB}"/>
              </a:ext>
            </a:extLst>
          </p:cNvPr>
          <p:cNvSpPr>
            <a:spLocks noGrp="1"/>
          </p:cNvSpPr>
          <p:nvPr>
            <p:ph type="title"/>
          </p:nvPr>
        </p:nvSpPr>
        <p:spPr>
          <a:xfrm>
            <a:off x="454298" y="228677"/>
            <a:ext cx="8229600" cy="857250"/>
          </a:xfrm>
        </p:spPr>
        <p:txBody>
          <a:bodyPr>
            <a:normAutofit/>
          </a:bodyPr>
          <a:lstStyle/>
          <a:p>
            <a:r>
              <a:rPr lang="en-US" sz="3600" dirty="0"/>
              <a:t>Threat Landscape</a:t>
            </a:r>
          </a:p>
        </p:txBody>
      </p:sp>
      <p:sp>
        <p:nvSpPr>
          <p:cNvPr id="28" name="TextBox 27">
            <a:extLst>
              <a:ext uri="{FF2B5EF4-FFF2-40B4-BE49-F238E27FC236}">
                <a16:creationId xmlns:a16="http://schemas.microsoft.com/office/drawing/2014/main" id="{7324FCD1-2E2D-2D4E-6A51-F09E297F6526}"/>
              </a:ext>
            </a:extLst>
          </p:cNvPr>
          <p:cNvSpPr txBox="1"/>
          <p:nvPr/>
        </p:nvSpPr>
        <p:spPr>
          <a:xfrm>
            <a:off x="635273" y="3845956"/>
            <a:ext cx="7867650" cy="30777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isclaimer: Polling service being used is under personal license of Dan Taube and not the institution.</a:t>
            </a:r>
          </a:p>
        </p:txBody>
      </p:sp>
      <p:sp>
        <p:nvSpPr>
          <p:cNvPr id="32" name="TextBox 31">
            <a:extLst>
              <a:ext uri="{FF2B5EF4-FFF2-40B4-BE49-F238E27FC236}">
                <a16:creationId xmlns:a16="http://schemas.microsoft.com/office/drawing/2014/main" id="{1BFF4054-A971-437A-260D-707B86EE87A4}"/>
              </a:ext>
            </a:extLst>
          </p:cNvPr>
          <p:cNvSpPr txBox="1"/>
          <p:nvPr/>
        </p:nvSpPr>
        <p:spPr>
          <a:xfrm>
            <a:off x="304800" y="1800494"/>
            <a:ext cx="8467725" cy="1631216"/>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Visit </a:t>
            </a:r>
            <a:r>
              <a:rPr kumimoji="0" lang="en-US" sz="2000" b="1" i="0" u="none" strike="noStrike" kern="1200" cap="none" spc="0" normalizeH="0" baseline="0" noProof="0" dirty="0">
                <a:ln>
                  <a:noFill/>
                </a:ln>
                <a:solidFill>
                  <a:prstClr val="black"/>
                </a:solidFill>
                <a:effectLst/>
                <a:uLnTx/>
                <a:uFillTx/>
                <a:latin typeface="Calibri"/>
                <a:ea typeface="+mn-ea"/>
                <a:cs typeface="+mn-cs"/>
              </a:rPr>
              <a:t>menti.com</a:t>
            </a:r>
            <a:r>
              <a:rPr kumimoji="0" lang="en-US" sz="2000" b="0" i="0" u="none" strike="noStrike" kern="1200" cap="none" spc="0" normalizeH="0" baseline="0" noProof="0" dirty="0">
                <a:ln>
                  <a:noFill/>
                </a:ln>
                <a:solidFill>
                  <a:prstClr val="black"/>
                </a:solidFill>
                <a:effectLst/>
                <a:uLnTx/>
                <a:uFillTx/>
                <a:latin typeface="Calibri"/>
                <a:ea typeface="+mn-ea"/>
                <a:cs typeface="+mn-cs"/>
              </a:rPr>
              <a:t> and enter code </a:t>
            </a:r>
            <a:r>
              <a:rPr kumimoji="0" lang="en-US" sz="2000" b="1" i="0" u="none" strike="noStrike" kern="1200" cap="none" spc="0" normalizeH="0" baseline="0" noProof="0" dirty="0">
                <a:ln>
                  <a:noFill/>
                </a:ln>
                <a:solidFill>
                  <a:prstClr val="black"/>
                </a:solidFill>
                <a:effectLst/>
                <a:uLnTx/>
                <a:uFillTx/>
                <a:latin typeface="Calibri"/>
                <a:ea typeface="+mn-ea"/>
                <a:cs typeface="+mn-cs"/>
              </a:rPr>
              <a:t>1367 6366</a:t>
            </a:r>
            <a:r>
              <a:rPr kumimoji="0" lang="en-US" sz="2000" b="0" i="0" u="none" strike="noStrike" kern="1200" cap="none" spc="0" normalizeH="0" baseline="0" noProof="0" dirty="0">
                <a:ln>
                  <a:noFill/>
                </a:ln>
                <a:solidFill>
                  <a:prstClr val="black"/>
                </a:solidFill>
                <a:effectLst/>
                <a:uLnTx/>
                <a:uFillTx/>
                <a:latin typeface="Calibri"/>
                <a:ea typeface="+mn-ea"/>
                <a:cs typeface="+mn-cs"/>
              </a:rPr>
              <a:t> to participat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Anonymous and web-base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olls relate to industry reports on known information security incidents.</a:t>
            </a:r>
          </a:p>
        </p:txBody>
      </p:sp>
      <p:sp>
        <p:nvSpPr>
          <p:cNvPr id="2" name="TextBox 1">
            <a:extLst>
              <a:ext uri="{FF2B5EF4-FFF2-40B4-BE49-F238E27FC236}">
                <a16:creationId xmlns:a16="http://schemas.microsoft.com/office/drawing/2014/main" id="{E5AB1EB4-3181-CC22-604F-ED1F45F1E827}"/>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1405200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a:t>IT News Rules of the Road</a:t>
            </a:r>
          </a:p>
        </p:txBody>
      </p:sp>
      <p:sp>
        <p:nvSpPr>
          <p:cNvPr id="5" name="Content Placeholder 4">
            <a:extLst>
              <a:ext uri="{FF2B5EF4-FFF2-40B4-BE49-F238E27FC236}">
                <a16:creationId xmlns:a16="http://schemas.microsoft.com/office/drawing/2014/main" id="{EA3C1E3A-C1CE-4F61-B3E6-F072906FC8B7}"/>
              </a:ext>
            </a:extLst>
          </p:cNvPr>
          <p:cNvSpPr>
            <a:spLocks noGrp="1"/>
          </p:cNvSpPr>
          <p:nvPr>
            <p:ph idx="1"/>
          </p:nvPr>
        </p:nvSpPr>
        <p:spPr/>
        <p:txBody>
          <a:bodyPr>
            <a:normAutofit fontScale="92500" lnSpcReduction="20000"/>
          </a:bodyPr>
          <a:lstStyle/>
          <a:p>
            <a:r>
              <a:rPr lang="en-US" dirty="0"/>
              <a:t>This session is being recorded and will be posted to the CIT web site</a:t>
            </a:r>
          </a:p>
          <a:p>
            <a:r>
              <a:rPr lang="en-US" dirty="0"/>
              <a:t>Please keep your mic on mute</a:t>
            </a:r>
          </a:p>
          <a:p>
            <a:r>
              <a:rPr lang="en-US" dirty="0"/>
              <a:t>Questions are welcome if time permits at the end </a:t>
            </a:r>
          </a:p>
          <a:p>
            <a:pPr lvl="1"/>
            <a:r>
              <a:rPr lang="en-US" dirty="0"/>
              <a:t>In person attendees, raise your hand we’ll bring the mic to you</a:t>
            </a:r>
          </a:p>
          <a:p>
            <a:pPr lvl="1"/>
            <a:r>
              <a:rPr lang="en-US" dirty="0"/>
              <a:t>Online attendees, put your question in chat and we will repeat it in the room</a:t>
            </a:r>
          </a:p>
        </p:txBody>
      </p:sp>
    </p:spTree>
    <p:extLst>
      <p:ext uri="{BB962C8B-B14F-4D97-AF65-F5344CB8AC3E}">
        <p14:creationId xmlns:p14="http://schemas.microsoft.com/office/powerpoint/2010/main" val="22546813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7" name="TextBox 6">
            <a:extLst>
              <a:ext uri="{FF2B5EF4-FFF2-40B4-BE49-F238E27FC236}">
                <a16:creationId xmlns:a16="http://schemas.microsoft.com/office/drawing/2014/main" id="{B2B446E1-4910-1C38-1D8C-8EF2D590C1DB}"/>
              </a:ext>
            </a:extLst>
          </p:cNvPr>
          <p:cNvSpPr txBox="1"/>
          <p:nvPr/>
        </p:nvSpPr>
        <p:spPr>
          <a:xfrm>
            <a:off x="499953" y="989767"/>
            <a:ext cx="8137252"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utting it All Together</a:t>
            </a:r>
          </a:p>
        </p:txBody>
      </p:sp>
      <p:sp>
        <p:nvSpPr>
          <p:cNvPr id="26" name="Title 1">
            <a:extLst>
              <a:ext uri="{FF2B5EF4-FFF2-40B4-BE49-F238E27FC236}">
                <a16:creationId xmlns:a16="http://schemas.microsoft.com/office/drawing/2014/main" id="{D660B109-70A5-155B-B539-1880CAD1D1CB}"/>
              </a:ext>
            </a:extLst>
          </p:cNvPr>
          <p:cNvSpPr>
            <a:spLocks noGrp="1"/>
          </p:cNvSpPr>
          <p:nvPr>
            <p:ph type="title"/>
          </p:nvPr>
        </p:nvSpPr>
        <p:spPr>
          <a:xfrm>
            <a:off x="454298" y="228677"/>
            <a:ext cx="8229600" cy="857250"/>
          </a:xfrm>
        </p:spPr>
        <p:txBody>
          <a:bodyPr>
            <a:normAutofit/>
          </a:bodyPr>
          <a:lstStyle/>
          <a:p>
            <a:r>
              <a:rPr lang="en-US" sz="3600" dirty="0"/>
              <a:t>Threat Landscape</a:t>
            </a:r>
          </a:p>
        </p:txBody>
      </p:sp>
      <p:sp>
        <p:nvSpPr>
          <p:cNvPr id="32" name="TextBox 31">
            <a:extLst>
              <a:ext uri="{FF2B5EF4-FFF2-40B4-BE49-F238E27FC236}">
                <a16:creationId xmlns:a16="http://schemas.microsoft.com/office/drawing/2014/main" id="{1BFF4054-A971-437A-260D-707B86EE87A4}"/>
              </a:ext>
            </a:extLst>
          </p:cNvPr>
          <p:cNvSpPr txBox="1"/>
          <p:nvPr/>
        </p:nvSpPr>
        <p:spPr>
          <a:xfrm>
            <a:off x="454297" y="1800494"/>
            <a:ext cx="8042003"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Vulnerable systems and untrained users drive education data breaches.</a:t>
            </a:r>
          </a:p>
        </p:txBody>
      </p:sp>
      <p:sp>
        <p:nvSpPr>
          <p:cNvPr id="35" name="TextBox 34">
            <a:extLst>
              <a:ext uri="{FF2B5EF4-FFF2-40B4-BE49-F238E27FC236}">
                <a16:creationId xmlns:a16="http://schemas.microsoft.com/office/drawing/2014/main" id="{49E22B1F-9A9B-5275-8AB7-BE91674E30F7}"/>
              </a:ext>
            </a:extLst>
          </p:cNvPr>
          <p:cNvSpPr txBox="1"/>
          <p:nvPr/>
        </p:nvSpPr>
        <p:spPr>
          <a:xfrm>
            <a:off x="454297" y="2371668"/>
            <a:ext cx="8394427"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Threat actors are quicker to successfully exploit significant vulnerabilities.</a:t>
            </a:r>
          </a:p>
        </p:txBody>
      </p:sp>
      <p:sp>
        <p:nvSpPr>
          <p:cNvPr id="2" name="TextBox 1">
            <a:extLst>
              <a:ext uri="{FF2B5EF4-FFF2-40B4-BE49-F238E27FC236}">
                <a16:creationId xmlns:a16="http://schemas.microsoft.com/office/drawing/2014/main" id="{D1679492-D487-5E23-5FE4-4EC1D10F0C22}"/>
              </a:ext>
            </a:extLst>
          </p:cNvPr>
          <p:cNvSpPr txBox="1"/>
          <p:nvPr/>
        </p:nvSpPr>
        <p:spPr>
          <a:xfrm>
            <a:off x="454298" y="2908757"/>
            <a:ext cx="8229600"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Top mitigators and amplifiers to breach cost are organization wide factors.</a:t>
            </a:r>
          </a:p>
        </p:txBody>
      </p:sp>
      <p:sp>
        <p:nvSpPr>
          <p:cNvPr id="3" name="TextBox 2">
            <a:extLst>
              <a:ext uri="{FF2B5EF4-FFF2-40B4-BE49-F238E27FC236}">
                <a16:creationId xmlns:a16="http://schemas.microsoft.com/office/drawing/2014/main" id="{7D6C062F-4C50-BBB5-AD05-C20859E6AF2B}"/>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27008900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7" name="TextBox 6">
            <a:extLst>
              <a:ext uri="{FF2B5EF4-FFF2-40B4-BE49-F238E27FC236}">
                <a16:creationId xmlns:a16="http://schemas.microsoft.com/office/drawing/2014/main" id="{B2B446E1-4910-1C38-1D8C-8EF2D590C1DB}"/>
              </a:ext>
            </a:extLst>
          </p:cNvPr>
          <p:cNvSpPr txBox="1"/>
          <p:nvPr/>
        </p:nvSpPr>
        <p:spPr>
          <a:xfrm>
            <a:off x="499953" y="989767"/>
            <a:ext cx="8137252"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Risks of Information Security Weaknesses</a:t>
            </a:r>
          </a:p>
        </p:txBody>
      </p:sp>
      <p:sp>
        <p:nvSpPr>
          <p:cNvPr id="26" name="Title 1">
            <a:extLst>
              <a:ext uri="{FF2B5EF4-FFF2-40B4-BE49-F238E27FC236}">
                <a16:creationId xmlns:a16="http://schemas.microsoft.com/office/drawing/2014/main" id="{D660B109-70A5-155B-B539-1880CAD1D1CB}"/>
              </a:ext>
            </a:extLst>
          </p:cNvPr>
          <p:cNvSpPr>
            <a:spLocks noGrp="1"/>
          </p:cNvSpPr>
          <p:nvPr>
            <p:ph type="title"/>
          </p:nvPr>
        </p:nvSpPr>
        <p:spPr>
          <a:xfrm>
            <a:off x="454298" y="228677"/>
            <a:ext cx="8229600" cy="857250"/>
          </a:xfrm>
        </p:spPr>
        <p:txBody>
          <a:bodyPr>
            <a:normAutofit/>
          </a:bodyPr>
          <a:lstStyle/>
          <a:p>
            <a:r>
              <a:rPr lang="en-US" sz="3600" dirty="0"/>
              <a:t>Threat Landscape</a:t>
            </a:r>
          </a:p>
        </p:txBody>
      </p:sp>
      <p:sp>
        <p:nvSpPr>
          <p:cNvPr id="32" name="TextBox 31">
            <a:extLst>
              <a:ext uri="{FF2B5EF4-FFF2-40B4-BE49-F238E27FC236}">
                <a16:creationId xmlns:a16="http://schemas.microsoft.com/office/drawing/2014/main" id="{1BFF4054-A971-437A-260D-707B86EE87A4}"/>
              </a:ext>
            </a:extLst>
          </p:cNvPr>
          <p:cNvSpPr txBox="1"/>
          <p:nvPr/>
        </p:nvSpPr>
        <p:spPr>
          <a:xfrm>
            <a:off x="499952" y="1762394"/>
            <a:ext cx="7939197"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Financial/Compliance/Legal </a:t>
            </a:r>
            <a:r>
              <a:rPr kumimoji="0" lang="en-US" sz="2000" b="0" i="0" u="none" strike="noStrike" kern="1200" cap="none" spc="0" normalizeH="0" baseline="0" noProof="0" dirty="0">
                <a:ln>
                  <a:noFill/>
                </a:ln>
                <a:solidFill>
                  <a:prstClr val="black"/>
                </a:solidFill>
                <a:effectLst/>
                <a:uLnTx/>
                <a:uFillTx/>
                <a:latin typeface="Calibri"/>
                <a:ea typeface="+mn-ea"/>
                <a:cs typeface="+mn-cs"/>
              </a:rPr>
              <a:t>– Restoration costs, fines, and loss of funding.</a:t>
            </a:r>
          </a:p>
        </p:txBody>
      </p:sp>
      <p:sp>
        <p:nvSpPr>
          <p:cNvPr id="35" name="TextBox 34">
            <a:extLst>
              <a:ext uri="{FF2B5EF4-FFF2-40B4-BE49-F238E27FC236}">
                <a16:creationId xmlns:a16="http://schemas.microsoft.com/office/drawing/2014/main" id="{49E22B1F-9A9B-5275-8AB7-BE91674E30F7}"/>
              </a:ext>
            </a:extLst>
          </p:cNvPr>
          <p:cNvSpPr txBox="1"/>
          <p:nvPr/>
        </p:nvSpPr>
        <p:spPr>
          <a:xfrm>
            <a:off x="499953" y="2907850"/>
            <a:ext cx="7939196"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Operational/Human Capital </a:t>
            </a:r>
            <a:r>
              <a:rPr kumimoji="0" lang="en-US" sz="2000" b="0" i="0" u="none" strike="noStrike" kern="1200" cap="none" spc="0" normalizeH="0" baseline="0" noProof="0" dirty="0">
                <a:ln>
                  <a:noFill/>
                </a:ln>
                <a:solidFill>
                  <a:prstClr val="black"/>
                </a:solidFill>
                <a:effectLst/>
                <a:uLnTx/>
                <a:uFillTx/>
                <a:latin typeface="Calibri"/>
                <a:ea typeface="+mn-ea"/>
                <a:cs typeface="+mn-cs"/>
              </a:rPr>
              <a:t>– Loss of time for students, faculty, and staff.</a:t>
            </a:r>
          </a:p>
        </p:txBody>
      </p:sp>
      <p:sp>
        <p:nvSpPr>
          <p:cNvPr id="2" name="TextBox 1">
            <a:extLst>
              <a:ext uri="{FF2B5EF4-FFF2-40B4-BE49-F238E27FC236}">
                <a16:creationId xmlns:a16="http://schemas.microsoft.com/office/drawing/2014/main" id="{D1679492-D487-5E23-5FE4-4EC1D10F0C22}"/>
              </a:ext>
            </a:extLst>
          </p:cNvPr>
          <p:cNvSpPr txBox="1"/>
          <p:nvPr/>
        </p:nvSpPr>
        <p:spPr>
          <a:xfrm>
            <a:off x="499953" y="3480577"/>
            <a:ext cx="7692998"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eputational</a:t>
            </a:r>
            <a:r>
              <a:rPr kumimoji="0" lang="en-US" sz="2000" b="0" i="0" u="none" strike="noStrike" kern="1200" cap="none" spc="0" normalizeH="0" baseline="0" noProof="0" dirty="0">
                <a:ln>
                  <a:noFill/>
                </a:ln>
                <a:solidFill>
                  <a:prstClr val="black"/>
                </a:solidFill>
                <a:effectLst/>
                <a:uLnTx/>
                <a:uFillTx/>
                <a:latin typeface="Calibri"/>
                <a:ea typeface="+mn-ea"/>
                <a:cs typeface="+mn-cs"/>
              </a:rPr>
              <a:t> – Loss of potential applicants, donors, and partnerships.</a:t>
            </a:r>
          </a:p>
        </p:txBody>
      </p:sp>
      <p:sp>
        <p:nvSpPr>
          <p:cNvPr id="3" name="TextBox 2">
            <a:extLst>
              <a:ext uri="{FF2B5EF4-FFF2-40B4-BE49-F238E27FC236}">
                <a16:creationId xmlns:a16="http://schemas.microsoft.com/office/drawing/2014/main" id="{634A35AB-5786-175C-5B8B-81F1E67CF41A}"/>
              </a:ext>
            </a:extLst>
          </p:cNvPr>
          <p:cNvSpPr txBox="1"/>
          <p:nvPr/>
        </p:nvSpPr>
        <p:spPr>
          <a:xfrm>
            <a:off x="499953" y="2335122"/>
            <a:ext cx="7692998"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Health/Safety </a:t>
            </a:r>
            <a:r>
              <a:rPr kumimoji="0" lang="en-US" sz="2000" b="0" i="0" u="none" strike="noStrike" kern="1200" cap="none" spc="0" normalizeH="0" baseline="0" noProof="0" dirty="0">
                <a:ln>
                  <a:noFill/>
                </a:ln>
                <a:solidFill>
                  <a:prstClr val="black"/>
                </a:solidFill>
                <a:effectLst/>
                <a:uLnTx/>
                <a:uFillTx/>
                <a:latin typeface="Calibri"/>
                <a:ea typeface="+mn-ea"/>
                <a:cs typeface="+mn-cs"/>
              </a:rPr>
              <a:t>– Human harm or loss due to system/network outages.</a:t>
            </a:r>
          </a:p>
        </p:txBody>
      </p:sp>
      <p:sp>
        <p:nvSpPr>
          <p:cNvPr id="5" name="TextBox 4">
            <a:extLst>
              <a:ext uri="{FF2B5EF4-FFF2-40B4-BE49-F238E27FC236}">
                <a16:creationId xmlns:a16="http://schemas.microsoft.com/office/drawing/2014/main" id="{F9894838-AC19-5772-E3C0-72E86C8853FF}"/>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29372162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6" name="Title 1">
            <a:extLst>
              <a:ext uri="{FF2B5EF4-FFF2-40B4-BE49-F238E27FC236}">
                <a16:creationId xmlns:a16="http://schemas.microsoft.com/office/drawing/2014/main" id="{D660B109-70A5-155B-B539-1880CAD1D1CB}"/>
              </a:ext>
            </a:extLst>
          </p:cNvPr>
          <p:cNvSpPr>
            <a:spLocks noGrp="1"/>
          </p:cNvSpPr>
          <p:nvPr>
            <p:ph type="title"/>
          </p:nvPr>
        </p:nvSpPr>
        <p:spPr>
          <a:xfrm>
            <a:off x="454298" y="228677"/>
            <a:ext cx="8229600" cy="857250"/>
          </a:xfrm>
        </p:spPr>
        <p:txBody>
          <a:bodyPr>
            <a:normAutofit/>
          </a:bodyPr>
          <a:lstStyle/>
          <a:p>
            <a:r>
              <a:rPr lang="en-US" sz="3600" dirty="0"/>
              <a:t>Information Security Program History</a:t>
            </a:r>
          </a:p>
        </p:txBody>
      </p:sp>
      <p:pic>
        <p:nvPicPr>
          <p:cNvPr id="8" name="Picture 7" descr="A screenshot of a computer&#10;&#10;Description automatically generated">
            <a:extLst>
              <a:ext uri="{FF2B5EF4-FFF2-40B4-BE49-F238E27FC236}">
                <a16:creationId xmlns:a16="http://schemas.microsoft.com/office/drawing/2014/main" id="{BF6832E4-3ACA-7D8F-8814-2F2C5349B061}"/>
              </a:ext>
            </a:extLst>
          </p:cNvPr>
          <p:cNvPicPr>
            <a:picLocks noChangeAspect="1"/>
          </p:cNvPicPr>
          <p:nvPr/>
        </p:nvPicPr>
        <p:blipFill>
          <a:blip r:embed="rId4"/>
          <a:stretch>
            <a:fillRect/>
          </a:stretch>
        </p:blipFill>
        <p:spPr>
          <a:xfrm>
            <a:off x="0" y="1022977"/>
            <a:ext cx="9144000" cy="3097545"/>
          </a:xfrm>
          <a:prstGeom prst="rect">
            <a:avLst/>
          </a:prstGeom>
        </p:spPr>
      </p:pic>
      <p:sp>
        <p:nvSpPr>
          <p:cNvPr id="2" name="TextBox 1">
            <a:extLst>
              <a:ext uri="{FF2B5EF4-FFF2-40B4-BE49-F238E27FC236}">
                <a16:creationId xmlns:a16="http://schemas.microsoft.com/office/drawing/2014/main" id="{FCA25E93-1C85-16D3-6EF0-7ED0E034FEC0}"/>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25131594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7" name="TextBox 6">
            <a:extLst>
              <a:ext uri="{FF2B5EF4-FFF2-40B4-BE49-F238E27FC236}">
                <a16:creationId xmlns:a16="http://schemas.microsoft.com/office/drawing/2014/main" id="{B2B446E1-4910-1C38-1D8C-8EF2D590C1DB}"/>
              </a:ext>
            </a:extLst>
          </p:cNvPr>
          <p:cNvSpPr txBox="1"/>
          <p:nvPr/>
        </p:nvSpPr>
        <p:spPr>
          <a:xfrm>
            <a:off x="499953" y="989767"/>
            <a:ext cx="8137252"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Strategic, Not Reactive</a:t>
            </a:r>
          </a:p>
        </p:txBody>
      </p:sp>
      <p:sp>
        <p:nvSpPr>
          <p:cNvPr id="26" name="Title 1">
            <a:extLst>
              <a:ext uri="{FF2B5EF4-FFF2-40B4-BE49-F238E27FC236}">
                <a16:creationId xmlns:a16="http://schemas.microsoft.com/office/drawing/2014/main" id="{D660B109-70A5-155B-B539-1880CAD1D1CB}"/>
              </a:ext>
            </a:extLst>
          </p:cNvPr>
          <p:cNvSpPr>
            <a:spLocks noGrp="1"/>
          </p:cNvSpPr>
          <p:nvPr>
            <p:ph type="title"/>
          </p:nvPr>
        </p:nvSpPr>
        <p:spPr>
          <a:xfrm>
            <a:off x="454298" y="228677"/>
            <a:ext cx="8229600" cy="857250"/>
          </a:xfrm>
        </p:spPr>
        <p:txBody>
          <a:bodyPr>
            <a:normAutofit/>
          </a:bodyPr>
          <a:lstStyle/>
          <a:p>
            <a:r>
              <a:rPr lang="en-US" sz="3600" dirty="0"/>
              <a:t>Information Security Program Vision</a:t>
            </a:r>
          </a:p>
        </p:txBody>
      </p:sp>
      <p:sp>
        <p:nvSpPr>
          <p:cNvPr id="32" name="TextBox 31">
            <a:extLst>
              <a:ext uri="{FF2B5EF4-FFF2-40B4-BE49-F238E27FC236}">
                <a16:creationId xmlns:a16="http://schemas.microsoft.com/office/drawing/2014/main" id="{1BFF4054-A971-437A-260D-707B86EE87A4}"/>
              </a:ext>
            </a:extLst>
          </p:cNvPr>
          <p:cNvSpPr txBox="1"/>
          <p:nvPr/>
        </p:nvSpPr>
        <p:spPr>
          <a:xfrm>
            <a:off x="454297" y="1800494"/>
            <a:ext cx="8042003"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isk assessments</a:t>
            </a:r>
            <a:r>
              <a:rPr kumimoji="0" lang="en-US" sz="2000" b="0" i="0" u="none" strike="noStrike" kern="1200" cap="none" spc="0" normalizeH="0" baseline="0" noProof="0" dirty="0">
                <a:ln>
                  <a:noFill/>
                </a:ln>
                <a:solidFill>
                  <a:prstClr val="black"/>
                </a:solidFill>
                <a:effectLst/>
                <a:uLnTx/>
                <a:uFillTx/>
                <a:latin typeface="Calibri"/>
                <a:ea typeface="+mn-ea"/>
                <a:cs typeface="+mn-cs"/>
              </a:rPr>
              <a:t> to ensure effective prioritization and material progress.</a:t>
            </a:r>
          </a:p>
        </p:txBody>
      </p:sp>
      <p:sp>
        <p:nvSpPr>
          <p:cNvPr id="35" name="TextBox 34">
            <a:extLst>
              <a:ext uri="{FF2B5EF4-FFF2-40B4-BE49-F238E27FC236}">
                <a16:creationId xmlns:a16="http://schemas.microsoft.com/office/drawing/2014/main" id="{49E22B1F-9A9B-5275-8AB7-BE91674E30F7}"/>
              </a:ext>
            </a:extLst>
          </p:cNvPr>
          <p:cNvSpPr txBox="1"/>
          <p:nvPr/>
        </p:nvSpPr>
        <p:spPr>
          <a:xfrm>
            <a:off x="454298" y="2371668"/>
            <a:ext cx="8229600"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isk reporting </a:t>
            </a:r>
            <a:r>
              <a:rPr kumimoji="0" lang="en-US" sz="2000" b="0" i="0" u="none" strike="noStrike" kern="1200" cap="none" spc="0" normalizeH="0" baseline="0" noProof="0" dirty="0">
                <a:ln>
                  <a:noFill/>
                </a:ln>
                <a:solidFill>
                  <a:prstClr val="black"/>
                </a:solidFill>
                <a:effectLst/>
                <a:uLnTx/>
                <a:uFillTx/>
                <a:latin typeface="Calibri"/>
                <a:ea typeface="+mn-ea"/>
                <a:cs typeface="+mn-cs"/>
              </a:rPr>
              <a:t>to ensure effective communication and engagement.</a:t>
            </a:r>
          </a:p>
        </p:txBody>
      </p:sp>
      <p:sp>
        <p:nvSpPr>
          <p:cNvPr id="2" name="TextBox 1">
            <a:extLst>
              <a:ext uri="{FF2B5EF4-FFF2-40B4-BE49-F238E27FC236}">
                <a16:creationId xmlns:a16="http://schemas.microsoft.com/office/drawing/2014/main" id="{D1679492-D487-5E23-5FE4-4EC1D10F0C22}"/>
              </a:ext>
            </a:extLst>
          </p:cNvPr>
          <p:cNvSpPr txBox="1"/>
          <p:nvPr/>
        </p:nvSpPr>
        <p:spPr>
          <a:xfrm>
            <a:off x="454298" y="2908757"/>
            <a:ext cx="8229600"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Governance groups </a:t>
            </a:r>
            <a:r>
              <a:rPr kumimoji="0" lang="en-US" sz="2000" b="0" i="0" u="none" strike="noStrike" kern="1200" cap="none" spc="0" normalizeH="0" baseline="0" noProof="0" dirty="0">
                <a:ln>
                  <a:noFill/>
                </a:ln>
                <a:solidFill>
                  <a:prstClr val="black"/>
                </a:solidFill>
                <a:effectLst/>
                <a:uLnTx/>
                <a:uFillTx/>
                <a:latin typeface="Calibri"/>
                <a:ea typeface="+mn-ea"/>
                <a:cs typeface="+mn-cs"/>
              </a:rPr>
              <a:t>to ensure effective strategy and resources.</a:t>
            </a:r>
          </a:p>
        </p:txBody>
      </p:sp>
      <p:sp>
        <p:nvSpPr>
          <p:cNvPr id="3" name="TextBox 2">
            <a:extLst>
              <a:ext uri="{FF2B5EF4-FFF2-40B4-BE49-F238E27FC236}">
                <a16:creationId xmlns:a16="http://schemas.microsoft.com/office/drawing/2014/main" id="{EFE936EC-2E30-61A0-F964-E621F3C6F609}"/>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17434650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7" name="TextBox 6">
            <a:extLst>
              <a:ext uri="{FF2B5EF4-FFF2-40B4-BE49-F238E27FC236}">
                <a16:creationId xmlns:a16="http://schemas.microsoft.com/office/drawing/2014/main" id="{B2B446E1-4910-1C38-1D8C-8EF2D590C1DB}"/>
              </a:ext>
            </a:extLst>
          </p:cNvPr>
          <p:cNvSpPr txBox="1"/>
          <p:nvPr/>
        </p:nvSpPr>
        <p:spPr>
          <a:xfrm>
            <a:off x="499953" y="989767"/>
            <a:ext cx="8137252"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urposeful Direction and Engagement</a:t>
            </a:r>
          </a:p>
        </p:txBody>
      </p:sp>
      <p:sp>
        <p:nvSpPr>
          <p:cNvPr id="26" name="Title 1">
            <a:extLst>
              <a:ext uri="{FF2B5EF4-FFF2-40B4-BE49-F238E27FC236}">
                <a16:creationId xmlns:a16="http://schemas.microsoft.com/office/drawing/2014/main" id="{D660B109-70A5-155B-B539-1880CAD1D1CB}"/>
              </a:ext>
            </a:extLst>
          </p:cNvPr>
          <p:cNvSpPr>
            <a:spLocks noGrp="1"/>
          </p:cNvSpPr>
          <p:nvPr>
            <p:ph type="title"/>
          </p:nvPr>
        </p:nvSpPr>
        <p:spPr>
          <a:xfrm>
            <a:off x="454298" y="228677"/>
            <a:ext cx="8229600" cy="857250"/>
          </a:xfrm>
        </p:spPr>
        <p:txBody>
          <a:bodyPr>
            <a:normAutofit/>
          </a:bodyPr>
          <a:lstStyle/>
          <a:p>
            <a:r>
              <a:rPr lang="en-US" sz="3600" dirty="0"/>
              <a:t>Information Security Program Vision</a:t>
            </a:r>
          </a:p>
        </p:txBody>
      </p:sp>
      <p:sp>
        <p:nvSpPr>
          <p:cNvPr id="32" name="TextBox 31">
            <a:extLst>
              <a:ext uri="{FF2B5EF4-FFF2-40B4-BE49-F238E27FC236}">
                <a16:creationId xmlns:a16="http://schemas.microsoft.com/office/drawing/2014/main" id="{1BFF4054-A971-437A-260D-707B86EE87A4}"/>
              </a:ext>
            </a:extLst>
          </p:cNvPr>
          <p:cNvSpPr txBox="1"/>
          <p:nvPr/>
        </p:nvSpPr>
        <p:spPr>
          <a:xfrm>
            <a:off x="454297" y="1800494"/>
            <a:ext cx="8042003"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Strategy Council</a:t>
            </a:r>
            <a:r>
              <a:rPr kumimoji="0" lang="en-US" sz="2000" b="0" i="0" u="none" strike="noStrike" kern="1200" cap="none" spc="0" normalizeH="0" baseline="0" noProof="0" dirty="0">
                <a:ln>
                  <a:noFill/>
                </a:ln>
                <a:solidFill>
                  <a:prstClr val="black"/>
                </a:solidFill>
                <a:effectLst/>
                <a:uLnTx/>
                <a:uFillTx/>
                <a:latin typeface="Calibri"/>
                <a:ea typeface="+mn-ea"/>
                <a:cs typeface="+mn-cs"/>
              </a:rPr>
              <a:t> to ensure program strategy and functions meet needs.</a:t>
            </a:r>
          </a:p>
        </p:txBody>
      </p:sp>
      <p:sp>
        <p:nvSpPr>
          <p:cNvPr id="35" name="TextBox 34">
            <a:extLst>
              <a:ext uri="{FF2B5EF4-FFF2-40B4-BE49-F238E27FC236}">
                <a16:creationId xmlns:a16="http://schemas.microsoft.com/office/drawing/2014/main" id="{49E22B1F-9A9B-5275-8AB7-BE91674E30F7}"/>
              </a:ext>
            </a:extLst>
          </p:cNvPr>
          <p:cNvSpPr txBox="1"/>
          <p:nvPr/>
        </p:nvSpPr>
        <p:spPr>
          <a:xfrm>
            <a:off x="454298" y="2371668"/>
            <a:ext cx="8229600"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Standards Committee</a:t>
            </a:r>
            <a:r>
              <a:rPr kumimoji="0" lang="en-US" sz="2000" b="0" i="0" u="none" strike="noStrike" kern="1200" cap="none" spc="0" normalizeH="0" baseline="0" noProof="0" dirty="0">
                <a:ln>
                  <a:noFill/>
                </a:ln>
                <a:solidFill>
                  <a:prstClr val="black"/>
                </a:solidFill>
                <a:effectLst/>
                <a:uLnTx/>
                <a:uFillTx/>
                <a:latin typeface="Calibri"/>
                <a:ea typeface="+mn-ea"/>
                <a:cs typeface="+mn-cs"/>
              </a:rPr>
              <a:t> to ensure technical safeguards are appropriate.</a:t>
            </a:r>
          </a:p>
        </p:txBody>
      </p:sp>
      <p:sp>
        <p:nvSpPr>
          <p:cNvPr id="2" name="TextBox 1">
            <a:extLst>
              <a:ext uri="{FF2B5EF4-FFF2-40B4-BE49-F238E27FC236}">
                <a16:creationId xmlns:a16="http://schemas.microsoft.com/office/drawing/2014/main" id="{D1679492-D487-5E23-5FE4-4EC1D10F0C22}"/>
              </a:ext>
            </a:extLst>
          </p:cNvPr>
          <p:cNvSpPr txBox="1"/>
          <p:nvPr/>
        </p:nvSpPr>
        <p:spPr>
          <a:xfrm>
            <a:off x="454298" y="2908757"/>
            <a:ext cx="8229600"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Leads and Liaisons</a:t>
            </a:r>
            <a:r>
              <a:rPr kumimoji="0" lang="en-US" sz="2000" b="0" i="0" u="none" strike="noStrike" kern="1200" cap="none" spc="0" normalizeH="0" baseline="0" noProof="0" dirty="0">
                <a:ln>
                  <a:noFill/>
                </a:ln>
                <a:solidFill>
                  <a:prstClr val="black"/>
                </a:solidFill>
                <a:effectLst/>
                <a:uLnTx/>
                <a:uFillTx/>
                <a:latin typeface="Calibri"/>
                <a:ea typeface="+mn-ea"/>
                <a:cs typeface="+mn-cs"/>
              </a:rPr>
              <a:t> to ensure efficient communication and response.</a:t>
            </a:r>
          </a:p>
        </p:txBody>
      </p:sp>
      <p:sp>
        <p:nvSpPr>
          <p:cNvPr id="3" name="TextBox 2">
            <a:extLst>
              <a:ext uri="{FF2B5EF4-FFF2-40B4-BE49-F238E27FC236}">
                <a16:creationId xmlns:a16="http://schemas.microsoft.com/office/drawing/2014/main" id="{B32BED34-9E05-ECC1-0903-E1ECA40E82F8}"/>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1471579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7" name="TextBox 6">
            <a:extLst>
              <a:ext uri="{FF2B5EF4-FFF2-40B4-BE49-F238E27FC236}">
                <a16:creationId xmlns:a16="http://schemas.microsoft.com/office/drawing/2014/main" id="{B2B446E1-4910-1C38-1D8C-8EF2D590C1DB}"/>
              </a:ext>
            </a:extLst>
          </p:cNvPr>
          <p:cNvSpPr txBox="1"/>
          <p:nvPr/>
        </p:nvSpPr>
        <p:spPr>
          <a:xfrm>
            <a:off x="499953" y="989767"/>
            <a:ext cx="8137252"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An Informed and Empowered Campus</a:t>
            </a:r>
          </a:p>
        </p:txBody>
      </p:sp>
      <p:sp>
        <p:nvSpPr>
          <p:cNvPr id="26" name="Title 1">
            <a:extLst>
              <a:ext uri="{FF2B5EF4-FFF2-40B4-BE49-F238E27FC236}">
                <a16:creationId xmlns:a16="http://schemas.microsoft.com/office/drawing/2014/main" id="{D660B109-70A5-155B-B539-1880CAD1D1CB}"/>
              </a:ext>
            </a:extLst>
          </p:cNvPr>
          <p:cNvSpPr>
            <a:spLocks noGrp="1"/>
          </p:cNvSpPr>
          <p:nvPr>
            <p:ph type="title"/>
          </p:nvPr>
        </p:nvSpPr>
        <p:spPr>
          <a:xfrm>
            <a:off x="454298" y="228677"/>
            <a:ext cx="8229600" cy="857250"/>
          </a:xfrm>
        </p:spPr>
        <p:txBody>
          <a:bodyPr>
            <a:normAutofit/>
          </a:bodyPr>
          <a:lstStyle/>
          <a:p>
            <a:r>
              <a:rPr lang="en-US" sz="3600" dirty="0"/>
              <a:t>Information Security Program Vision</a:t>
            </a:r>
          </a:p>
        </p:txBody>
      </p:sp>
      <p:sp>
        <p:nvSpPr>
          <p:cNvPr id="32" name="TextBox 31">
            <a:extLst>
              <a:ext uri="{FF2B5EF4-FFF2-40B4-BE49-F238E27FC236}">
                <a16:creationId xmlns:a16="http://schemas.microsoft.com/office/drawing/2014/main" id="{1BFF4054-A971-437A-260D-707B86EE87A4}"/>
              </a:ext>
            </a:extLst>
          </p:cNvPr>
          <p:cNvSpPr txBox="1"/>
          <p:nvPr/>
        </p:nvSpPr>
        <p:spPr>
          <a:xfrm>
            <a:off x="454297" y="1800494"/>
            <a:ext cx="8042003"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egular awareness training </a:t>
            </a:r>
            <a:r>
              <a:rPr kumimoji="0" lang="en-US" sz="2000" b="0" i="0" u="none" strike="noStrike" kern="1200" cap="none" spc="0" normalizeH="0" baseline="0" noProof="0" dirty="0">
                <a:ln>
                  <a:noFill/>
                </a:ln>
                <a:solidFill>
                  <a:prstClr val="black"/>
                </a:solidFill>
                <a:effectLst/>
                <a:uLnTx/>
                <a:uFillTx/>
                <a:latin typeface="Calibri"/>
                <a:ea typeface="+mn-ea"/>
                <a:cs typeface="+mn-cs"/>
              </a:rPr>
              <a:t>for the campus to stay ahead of threats.</a:t>
            </a:r>
          </a:p>
        </p:txBody>
      </p:sp>
      <p:sp>
        <p:nvSpPr>
          <p:cNvPr id="35" name="TextBox 34">
            <a:extLst>
              <a:ext uri="{FF2B5EF4-FFF2-40B4-BE49-F238E27FC236}">
                <a16:creationId xmlns:a16="http://schemas.microsoft.com/office/drawing/2014/main" id="{49E22B1F-9A9B-5275-8AB7-BE91674E30F7}"/>
              </a:ext>
            </a:extLst>
          </p:cNvPr>
          <p:cNvSpPr txBox="1"/>
          <p:nvPr/>
        </p:nvSpPr>
        <p:spPr>
          <a:xfrm>
            <a:off x="454298" y="2371668"/>
            <a:ext cx="8229600"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ole-based education </a:t>
            </a:r>
            <a:r>
              <a:rPr kumimoji="0" lang="en-US" sz="2000" b="0" i="0" u="none" strike="noStrike" kern="1200" cap="none" spc="0" normalizeH="0" baseline="0" noProof="0" dirty="0">
                <a:ln>
                  <a:noFill/>
                </a:ln>
                <a:solidFill>
                  <a:prstClr val="black"/>
                </a:solidFill>
                <a:effectLst/>
                <a:uLnTx/>
                <a:uFillTx/>
                <a:latin typeface="Calibri"/>
                <a:ea typeface="+mn-ea"/>
                <a:cs typeface="+mn-cs"/>
              </a:rPr>
              <a:t>for those in positions with sensitive or controlled data.</a:t>
            </a:r>
          </a:p>
        </p:txBody>
      </p:sp>
      <p:sp>
        <p:nvSpPr>
          <p:cNvPr id="2" name="TextBox 1">
            <a:extLst>
              <a:ext uri="{FF2B5EF4-FFF2-40B4-BE49-F238E27FC236}">
                <a16:creationId xmlns:a16="http://schemas.microsoft.com/office/drawing/2014/main" id="{D1679492-D487-5E23-5FE4-4EC1D10F0C22}"/>
              </a:ext>
            </a:extLst>
          </p:cNvPr>
          <p:cNvSpPr txBox="1"/>
          <p:nvPr/>
        </p:nvSpPr>
        <p:spPr>
          <a:xfrm>
            <a:off x="454298" y="2908757"/>
            <a:ext cx="8229600"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eporting</a:t>
            </a:r>
            <a:r>
              <a:rPr kumimoji="0" lang="en-US" sz="2000" b="0" i="0" u="none" strike="noStrike" kern="1200" cap="none" spc="0" normalizeH="0" baseline="0" noProof="0" dirty="0">
                <a:ln>
                  <a:noFill/>
                </a:ln>
                <a:solidFill>
                  <a:prstClr val="black"/>
                </a:solidFill>
                <a:effectLst/>
                <a:uLnTx/>
                <a:uFillTx/>
                <a:latin typeface="Calibri"/>
                <a:ea typeface="+mn-ea"/>
                <a:cs typeface="+mn-cs"/>
              </a:rPr>
              <a:t> for management to support prioritization and resource allocation.</a:t>
            </a:r>
          </a:p>
        </p:txBody>
      </p:sp>
      <p:sp>
        <p:nvSpPr>
          <p:cNvPr id="3" name="TextBox 2">
            <a:extLst>
              <a:ext uri="{FF2B5EF4-FFF2-40B4-BE49-F238E27FC236}">
                <a16:creationId xmlns:a16="http://schemas.microsoft.com/office/drawing/2014/main" id="{A656B575-3591-D0A3-547F-68EC35D6E529}"/>
              </a:ext>
            </a:extLst>
          </p:cNvPr>
          <p:cNvSpPr txBox="1"/>
          <p:nvPr/>
        </p:nvSpPr>
        <p:spPr>
          <a:xfrm>
            <a:off x="7829390" y="4764704"/>
            <a:ext cx="1969477" cy="584775"/>
          </a:xfrm>
          <a:prstGeom prst="rect">
            <a:avLst/>
          </a:prstGeom>
          <a:noFill/>
        </p:spPr>
        <p:txBody>
          <a:bodyPr wrap="square" rtlCol="0">
            <a:spAutoFit/>
          </a:bodyPr>
          <a:lstStyle/>
          <a:p>
            <a:r>
              <a:rPr lang="en-US" sz="1400" dirty="0"/>
              <a:t>Dan Taube</a:t>
            </a:r>
          </a:p>
          <a:p>
            <a:endParaRPr lang="en-US" dirty="0"/>
          </a:p>
        </p:txBody>
      </p:sp>
    </p:spTree>
    <p:extLst>
      <p:ext uri="{BB962C8B-B14F-4D97-AF65-F5344CB8AC3E}">
        <p14:creationId xmlns:p14="http://schemas.microsoft.com/office/powerpoint/2010/main" val="14822576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normAutofit fontScale="90000"/>
          </a:bodyPr>
          <a:lstStyle/>
          <a:p>
            <a:r>
              <a:rPr lang="en-US" dirty="0"/>
              <a:t>College Technology Directors Council	</a:t>
            </a:r>
          </a:p>
        </p:txBody>
      </p:sp>
      <p:sp>
        <p:nvSpPr>
          <p:cNvPr id="3" name="Content Placeholder 2"/>
          <p:cNvSpPr>
            <a:spLocks noGrp="1"/>
          </p:cNvSpPr>
          <p:nvPr>
            <p:ph idx="1"/>
          </p:nvPr>
        </p:nvSpPr>
        <p:spPr/>
        <p:txBody>
          <a:bodyPr/>
          <a:lstStyle/>
          <a:p>
            <a:pPr algn="l"/>
            <a:r>
              <a:rPr lang="en-US" b="0" i="0" dirty="0">
                <a:solidFill>
                  <a:srgbClr val="1A1A1A"/>
                </a:solidFill>
                <a:effectLst/>
                <a:latin typeface="ISUCondBold"/>
              </a:rPr>
              <a:t>Mission </a:t>
            </a:r>
          </a:p>
          <a:p>
            <a:pPr marL="400050" lvl="1" indent="0">
              <a:buNone/>
            </a:pPr>
            <a:r>
              <a:rPr lang="en-US" b="0" i="0" dirty="0">
                <a:solidFill>
                  <a:srgbClr val="000000"/>
                </a:solidFill>
                <a:effectLst/>
                <a:latin typeface="Noto Sans" panose="020B0502040504020204" pitchFamily="34" charset="0"/>
              </a:rPr>
              <a:t>Advance the technology experience across the colleges by identifying, prioritizing, and advocating for collaborative solutions.  </a:t>
            </a:r>
          </a:p>
          <a:p>
            <a:r>
              <a:rPr lang="en-US" dirty="0"/>
              <a:t>about.illinoisstate.edu/ctdc</a:t>
            </a:r>
          </a:p>
        </p:txBody>
      </p:sp>
      <p:sp>
        <p:nvSpPr>
          <p:cNvPr id="5" name="TextBox 4">
            <a:extLst>
              <a:ext uri="{FF2B5EF4-FFF2-40B4-BE49-F238E27FC236}">
                <a16:creationId xmlns:a16="http://schemas.microsoft.com/office/drawing/2014/main" id="{57C24D4F-BD90-3A8F-9C70-1702213367E3}"/>
              </a:ext>
            </a:extLst>
          </p:cNvPr>
          <p:cNvSpPr txBox="1"/>
          <p:nvPr/>
        </p:nvSpPr>
        <p:spPr>
          <a:xfrm>
            <a:off x="7912910" y="4731545"/>
            <a:ext cx="1969477" cy="584775"/>
          </a:xfrm>
          <a:prstGeom prst="rect">
            <a:avLst/>
          </a:prstGeom>
          <a:noFill/>
        </p:spPr>
        <p:txBody>
          <a:bodyPr wrap="square" rtlCol="0">
            <a:spAutoFit/>
          </a:bodyPr>
          <a:lstStyle/>
          <a:p>
            <a:r>
              <a:rPr lang="en-US" sz="1400" dirty="0"/>
              <a:t>Mike Regilio</a:t>
            </a:r>
          </a:p>
          <a:p>
            <a:endParaRPr lang="en-US" dirty="0"/>
          </a:p>
        </p:txBody>
      </p:sp>
    </p:spTree>
    <p:extLst>
      <p:ext uri="{BB962C8B-B14F-4D97-AF65-F5344CB8AC3E}">
        <p14:creationId xmlns:p14="http://schemas.microsoft.com/office/powerpoint/2010/main" val="40848632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normAutofit/>
          </a:bodyPr>
          <a:lstStyle/>
          <a:p>
            <a:r>
              <a:rPr lang="en-US" dirty="0"/>
              <a:t>WebCheckout	</a:t>
            </a:r>
          </a:p>
        </p:txBody>
      </p:sp>
      <p:sp>
        <p:nvSpPr>
          <p:cNvPr id="3" name="Content Placeholder 2"/>
          <p:cNvSpPr>
            <a:spLocks noGrp="1"/>
          </p:cNvSpPr>
          <p:nvPr>
            <p:ph idx="1"/>
          </p:nvPr>
        </p:nvSpPr>
        <p:spPr/>
        <p:txBody>
          <a:bodyPr vert="horz" lIns="91440" tIns="45720" rIns="91440" bIns="45720" rtlCol="0" anchor="t">
            <a:normAutofit/>
          </a:bodyPr>
          <a:lstStyle/>
          <a:p>
            <a:r>
              <a:rPr lang="en-US" dirty="0"/>
              <a:t>Web Based / Hosted</a:t>
            </a:r>
          </a:p>
          <a:p>
            <a:r>
              <a:rPr lang="en-US" dirty="0"/>
              <a:t>Tiered Permissions </a:t>
            </a:r>
            <a:r>
              <a:rPr lang="en-US" sz="2000" dirty="0"/>
              <a:t>(admins, fac/staff, and students)</a:t>
            </a:r>
            <a:endParaRPr lang="en-US" sz="2000" dirty="0">
              <a:ea typeface="Calibri"/>
              <a:cs typeface="Calibri"/>
            </a:endParaRPr>
          </a:p>
          <a:p>
            <a:r>
              <a:rPr lang="en-US" dirty="0"/>
              <a:t>Equipment Reservations</a:t>
            </a:r>
            <a:endParaRPr lang="en-US" dirty="0">
              <a:ea typeface="Calibri"/>
              <a:cs typeface="Calibri"/>
            </a:endParaRPr>
          </a:p>
          <a:p>
            <a:r>
              <a:rPr lang="en-US" dirty="0"/>
              <a:t>Loan Tracking</a:t>
            </a:r>
            <a:endParaRPr lang="en-US" dirty="0">
              <a:ea typeface="Calibri"/>
              <a:cs typeface="Calibri"/>
            </a:endParaRPr>
          </a:p>
          <a:p>
            <a:r>
              <a:rPr lang="en-US" dirty="0">
                <a:ea typeface="+mn-lt"/>
                <a:cs typeface="+mn-lt"/>
              </a:rPr>
              <a:t>WebCheckoutAdmins@ilstu.edu</a:t>
            </a:r>
          </a:p>
        </p:txBody>
      </p:sp>
      <p:sp>
        <p:nvSpPr>
          <p:cNvPr id="5" name="TextBox 4">
            <a:extLst>
              <a:ext uri="{FF2B5EF4-FFF2-40B4-BE49-F238E27FC236}">
                <a16:creationId xmlns:a16="http://schemas.microsoft.com/office/drawing/2014/main" id="{9A66F613-274B-446F-54E0-3AB540C47496}"/>
              </a:ext>
            </a:extLst>
          </p:cNvPr>
          <p:cNvSpPr txBox="1"/>
          <p:nvPr/>
        </p:nvSpPr>
        <p:spPr>
          <a:xfrm>
            <a:off x="7912910" y="4731545"/>
            <a:ext cx="1969477" cy="584775"/>
          </a:xfrm>
          <a:prstGeom prst="rect">
            <a:avLst/>
          </a:prstGeom>
          <a:noFill/>
        </p:spPr>
        <p:txBody>
          <a:bodyPr wrap="square" rtlCol="0">
            <a:spAutoFit/>
          </a:bodyPr>
          <a:lstStyle/>
          <a:p>
            <a:r>
              <a:rPr lang="en-US" sz="1400" dirty="0"/>
              <a:t>Mike Regilio</a:t>
            </a:r>
          </a:p>
          <a:p>
            <a:endParaRPr lang="en-US" dirty="0"/>
          </a:p>
        </p:txBody>
      </p:sp>
    </p:spTree>
    <p:extLst>
      <p:ext uri="{BB962C8B-B14F-4D97-AF65-F5344CB8AC3E}">
        <p14:creationId xmlns:p14="http://schemas.microsoft.com/office/powerpoint/2010/main" val="23209026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dirty="0"/>
              <a:t>That’s a Wrap!</a:t>
            </a:r>
          </a:p>
        </p:txBody>
      </p:sp>
      <p:sp>
        <p:nvSpPr>
          <p:cNvPr id="5" name="Content Placeholder 4">
            <a:extLst>
              <a:ext uri="{FF2B5EF4-FFF2-40B4-BE49-F238E27FC236}">
                <a16:creationId xmlns:a16="http://schemas.microsoft.com/office/drawing/2014/main" id="{EA3C1E3A-C1CE-4F61-B3E6-F072906FC8B7}"/>
              </a:ext>
            </a:extLst>
          </p:cNvPr>
          <p:cNvSpPr>
            <a:spLocks noGrp="1"/>
          </p:cNvSpPr>
          <p:nvPr>
            <p:ph idx="1"/>
          </p:nvPr>
        </p:nvSpPr>
        <p:spPr/>
        <p:txBody>
          <a:bodyPr>
            <a:normAutofit/>
          </a:bodyPr>
          <a:lstStyle/>
          <a:p>
            <a:r>
              <a:rPr lang="en-US" sz="2400" dirty="0"/>
              <a:t>More great sessions from 3:30-4:30 pm</a:t>
            </a:r>
          </a:p>
          <a:p>
            <a:r>
              <a:rPr lang="en-US" sz="2400" dirty="0"/>
              <a:t>Join us at the Pub II after CIT!</a:t>
            </a:r>
          </a:p>
          <a:p>
            <a:r>
              <a:rPr lang="en-US" sz="2400" dirty="0" err="1"/>
              <a:t>CITx</a:t>
            </a:r>
            <a:r>
              <a:rPr lang="en-US" sz="2400" dirty="0"/>
              <a:t> in late February</a:t>
            </a:r>
          </a:p>
          <a:p>
            <a:r>
              <a:rPr lang="en-US" sz="2400" dirty="0"/>
              <a:t>Nominate one of our great student employees for the CIT Student MVP Award – </a:t>
            </a:r>
            <a:r>
              <a:rPr lang="en-US" sz="2400" dirty="0">
                <a:hlinkClick r:id="rId4"/>
              </a:rPr>
              <a:t>cit.illinoisstate.edu/awards</a:t>
            </a:r>
            <a:r>
              <a:rPr lang="en-US" sz="2400" dirty="0"/>
              <a:t>. Due 12/31/22.</a:t>
            </a:r>
          </a:p>
        </p:txBody>
      </p:sp>
    </p:spTree>
    <p:extLst>
      <p:ext uri="{BB962C8B-B14F-4D97-AF65-F5344CB8AC3E}">
        <p14:creationId xmlns:p14="http://schemas.microsoft.com/office/powerpoint/2010/main" val="36781574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dbackgroun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Tree>
    <p:extLst>
      <p:ext uri="{BB962C8B-B14F-4D97-AF65-F5344CB8AC3E}">
        <p14:creationId xmlns:p14="http://schemas.microsoft.com/office/powerpoint/2010/main" val="4242597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dirty="0"/>
              <a:t>“Yes, You Can with Canvas!”</a:t>
            </a:r>
          </a:p>
        </p:txBody>
      </p:sp>
      <p:sp>
        <p:nvSpPr>
          <p:cNvPr id="3" name="Content Placeholder 2"/>
          <p:cNvSpPr>
            <a:spLocks noGrp="1"/>
          </p:cNvSpPr>
          <p:nvPr>
            <p:ph idx="1"/>
          </p:nvPr>
        </p:nvSpPr>
        <p:spPr/>
        <p:txBody>
          <a:bodyPr>
            <a:normAutofit fontScale="77500" lnSpcReduction="20000"/>
          </a:bodyPr>
          <a:lstStyle/>
          <a:p>
            <a:r>
              <a:rPr lang="en-US" dirty="0"/>
              <a:t>Instructor Resources</a:t>
            </a:r>
          </a:p>
          <a:p>
            <a:pPr lvl="1"/>
            <a:r>
              <a:rPr lang="en-US" dirty="0"/>
              <a:t>Don’t forget about Canvas Studio (Add-on Tool for Video/Multimedia)</a:t>
            </a:r>
          </a:p>
          <a:p>
            <a:pPr lvl="1"/>
            <a:r>
              <a:rPr lang="en-US" dirty="0"/>
              <a:t>Contact CIPD  - </a:t>
            </a:r>
            <a:r>
              <a:rPr lang="en-US" dirty="0">
                <a:hlinkClick r:id="rId4"/>
              </a:rPr>
              <a:t>https://prodev.illinoisstate.edu/canvas/</a:t>
            </a:r>
            <a:endParaRPr lang="en-US" dirty="0"/>
          </a:p>
          <a:p>
            <a:r>
              <a:rPr lang="en-US" dirty="0"/>
              <a:t>Student Resources</a:t>
            </a:r>
          </a:p>
          <a:p>
            <a:pPr lvl="1"/>
            <a:r>
              <a:rPr lang="en-US" dirty="0"/>
              <a:t>Online Training - </a:t>
            </a:r>
            <a:r>
              <a:rPr lang="en-US" dirty="0">
                <a:hlinkClick r:id="rId5"/>
              </a:rPr>
              <a:t>http://www.ilstu.edu/quickstart</a:t>
            </a:r>
            <a:endParaRPr lang="en-US" dirty="0"/>
          </a:p>
          <a:p>
            <a:r>
              <a:rPr lang="en-US" dirty="0"/>
              <a:t>Everyone can always contact the Technology Support Center and use online help.</a:t>
            </a:r>
          </a:p>
          <a:p>
            <a:pPr lvl="1"/>
            <a:r>
              <a:rPr lang="en-US" dirty="0">
                <a:hlinkClick r:id="rId6"/>
              </a:rPr>
              <a:t>https://help.illinoisstate.edu/technology/support-topics/canvas</a:t>
            </a:r>
            <a:endParaRPr lang="en-US" dirty="0"/>
          </a:p>
          <a:p>
            <a:endParaRPr lang="en-US" dirty="0"/>
          </a:p>
          <a:p>
            <a:pPr lvl="1"/>
            <a:endParaRPr lang="en-US" dirty="0"/>
          </a:p>
          <a:p>
            <a:pPr lvl="1"/>
            <a:endParaRPr lang="en-US" dirty="0"/>
          </a:p>
        </p:txBody>
      </p:sp>
      <p:sp>
        <p:nvSpPr>
          <p:cNvPr id="5" name="TextBox 4">
            <a:extLst>
              <a:ext uri="{FF2B5EF4-FFF2-40B4-BE49-F238E27FC236}">
                <a16:creationId xmlns:a16="http://schemas.microsoft.com/office/drawing/2014/main" id="{3CF3C094-6ED6-FC65-EE1E-B2000692F5A6}"/>
              </a:ext>
            </a:extLst>
          </p:cNvPr>
          <p:cNvSpPr txBox="1"/>
          <p:nvPr/>
        </p:nvSpPr>
        <p:spPr>
          <a:xfrm>
            <a:off x="7920110" y="4764704"/>
            <a:ext cx="1969477" cy="584775"/>
          </a:xfrm>
          <a:prstGeom prst="rect">
            <a:avLst/>
          </a:prstGeom>
          <a:noFill/>
        </p:spPr>
        <p:txBody>
          <a:bodyPr wrap="square" rtlCol="0">
            <a:spAutoFit/>
          </a:bodyPr>
          <a:lstStyle/>
          <a:p>
            <a:r>
              <a:rPr lang="en-US" sz="1400" dirty="0"/>
              <a:t>Todd Smoak</a:t>
            </a:r>
          </a:p>
          <a:p>
            <a:endParaRPr lang="en-US" dirty="0"/>
          </a:p>
        </p:txBody>
      </p:sp>
    </p:spTree>
    <p:extLst>
      <p:ext uri="{BB962C8B-B14F-4D97-AF65-F5344CB8AC3E}">
        <p14:creationId xmlns:p14="http://schemas.microsoft.com/office/powerpoint/2010/main" val="5170788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hitebackgroun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8197" cy="5143500"/>
          </a:xfrm>
          <a:prstGeom prst="rect">
            <a:avLst/>
          </a:prstGeom>
        </p:spPr>
      </p:pic>
      <p:sp>
        <p:nvSpPr>
          <p:cNvPr id="2" name="Title 1"/>
          <p:cNvSpPr>
            <a:spLocks noGrp="1"/>
          </p:cNvSpPr>
          <p:nvPr>
            <p:ph type="title"/>
          </p:nvPr>
        </p:nvSpPr>
        <p:spPr/>
        <p:txBody>
          <a:bodyPr/>
          <a:lstStyle/>
          <a:p>
            <a:r>
              <a:rPr lang="en-US" dirty="0"/>
              <a:t>“Yes, You Can with Canvas!”</a:t>
            </a:r>
          </a:p>
        </p:txBody>
      </p:sp>
      <p:sp>
        <p:nvSpPr>
          <p:cNvPr id="3" name="Content Placeholder 2"/>
          <p:cNvSpPr>
            <a:spLocks noGrp="1"/>
          </p:cNvSpPr>
          <p:nvPr>
            <p:ph idx="1"/>
          </p:nvPr>
        </p:nvSpPr>
        <p:spPr/>
        <p:txBody>
          <a:bodyPr>
            <a:normAutofit/>
          </a:bodyPr>
          <a:lstStyle/>
          <a:p>
            <a:r>
              <a:rPr lang="en-US" dirty="0"/>
              <a:t>No Roadblocks, but still a few speed Bumps</a:t>
            </a:r>
          </a:p>
          <a:p>
            <a:pPr lvl="1"/>
            <a:r>
              <a:rPr lang="en-US" dirty="0"/>
              <a:t>Some LTIs (add-on tools) still in progress of being setup</a:t>
            </a:r>
          </a:p>
          <a:p>
            <a:pPr lvl="1"/>
            <a:r>
              <a:rPr lang="en-US" dirty="0"/>
              <a:t>Midterm Grades Process is being reworked to use Canvas and is still in progress</a:t>
            </a:r>
          </a:p>
          <a:p>
            <a:endParaRPr lang="en-US" dirty="0"/>
          </a:p>
          <a:p>
            <a:pPr lvl="1"/>
            <a:endParaRPr lang="en-US" dirty="0"/>
          </a:p>
          <a:p>
            <a:pPr lvl="1"/>
            <a:endParaRPr lang="en-US" dirty="0"/>
          </a:p>
        </p:txBody>
      </p:sp>
      <p:sp>
        <p:nvSpPr>
          <p:cNvPr id="5" name="TextBox 4">
            <a:extLst>
              <a:ext uri="{FF2B5EF4-FFF2-40B4-BE49-F238E27FC236}">
                <a16:creationId xmlns:a16="http://schemas.microsoft.com/office/drawing/2014/main" id="{DC3CE475-BE91-77D6-BDB4-FE3AD3CF734F}"/>
              </a:ext>
            </a:extLst>
          </p:cNvPr>
          <p:cNvSpPr txBox="1"/>
          <p:nvPr/>
        </p:nvSpPr>
        <p:spPr>
          <a:xfrm>
            <a:off x="7920110" y="4764704"/>
            <a:ext cx="1969477" cy="584775"/>
          </a:xfrm>
          <a:prstGeom prst="rect">
            <a:avLst/>
          </a:prstGeom>
          <a:noFill/>
        </p:spPr>
        <p:txBody>
          <a:bodyPr wrap="square" rtlCol="0">
            <a:spAutoFit/>
          </a:bodyPr>
          <a:lstStyle/>
          <a:p>
            <a:r>
              <a:rPr lang="en-US" sz="1400" dirty="0"/>
              <a:t>Todd Smoak</a:t>
            </a:r>
          </a:p>
          <a:p>
            <a:endParaRPr lang="en-US" dirty="0"/>
          </a:p>
        </p:txBody>
      </p:sp>
    </p:spTree>
    <p:extLst>
      <p:ext uri="{BB962C8B-B14F-4D97-AF65-F5344CB8AC3E}">
        <p14:creationId xmlns:p14="http://schemas.microsoft.com/office/powerpoint/2010/main" val="33213142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968853-2284-09FF-61DC-2E03846849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9835" y="1333939"/>
            <a:ext cx="1818986" cy="414009"/>
          </a:xfrm>
          <a:prstGeom prst="rect">
            <a:avLst/>
          </a:prstGeom>
        </p:spPr>
      </p:pic>
      <p:pic>
        <p:nvPicPr>
          <p:cNvPr id="5" name="Picture 4">
            <a:extLst>
              <a:ext uri="{FF2B5EF4-FFF2-40B4-BE49-F238E27FC236}">
                <a16:creationId xmlns:a16="http://schemas.microsoft.com/office/drawing/2014/main" id="{59193A7C-9064-9885-F949-BD0918B22195}"/>
              </a:ext>
            </a:extLst>
          </p:cNvPr>
          <p:cNvPicPr>
            <a:picLocks noChangeAspect="1"/>
          </p:cNvPicPr>
          <p:nvPr/>
        </p:nvPicPr>
        <p:blipFill>
          <a:blip r:embed="rId4"/>
          <a:stretch>
            <a:fillRect/>
          </a:stretch>
        </p:blipFill>
        <p:spPr>
          <a:xfrm>
            <a:off x="5676176" y="820756"/>
            <a:ext cx="2096224" cy="2110583"/>
          </a:xfrm>
          <a:prstGeom prst="rect">
            <a:avLst/>
          </a:prstGeom>
        </p:spPr>
      </p:pic>
      <p:sp>
        <p:nvSpPr>
          <p:cNvPr id="6" name="Cross 5">
            <a:extLst>
              <a:ext uri="{FF2B5EF4-FFF2-40B4-BE49-F238E27FC236}">
                <a16:creationId xmlns:a16="http://schemas.microsoft.com/office/drawing/2014/main" id="{8757E7FA-D557-DC90-15AD-915402520D4C}"/>
              </a:ext>
            </a:extLst>
          </p:cNvPr>
          <p:cNvSpPr/>
          <p:nvPr/>
        </p:nvSpPr>
        <p:spPr>
          <a:xfrm>
            <a:off x="3744335" y="1232849"/>
            <a:ext cx="826522" cy="829510"/>
          </a:xfrm>
          <a:prstGeom prst="plus">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D2314D35-309A-7072-D8A0-A9B7FEB66F35}"/>
              </a:ext>
            </a:extLst>
          </p:cNvPr>
          <p:cNvSpPr>
            <a:spLocks noGrp="1"/>
          </p:cNvSpPr>
          <p:nvPr>
            <p:ph type="ctrTitle"/>
          </p:nvPr>
        </p:nvSpPr>
        <p:spPr>
          <a:xfrm>
            <a:off x="1079835" y="3194659"/>
            <a:ext cx="6832207" cy="1495044"/>
          </a:xfrm>
        </p:spPr>
        <p:txBody>
          <a:bodyPr>
            <a:normAutofit/>
          </a:bodyPr>
          <a:lstStyle/>
          <a:p>
            <a:r>
              <a:rPr lang="en-US" sz="3200" dirty="0">
                <a:solidFill>
                  <a:srgbClr val="FF0000"/>
                </a:solidFill>
              </a:rPr>
              <a:t>Actionable Insights to Drive </a:t>
            </a:r>
            <a:br>
              <a:rPr lang="en-US" sz="3200" dirty="0">
                <a:solidFill>
                  <a:srgbClr val="FF0000"/>
                </a:solidFill>
              </a:rPr>
            </a:br>
            <a:r>
              <a:rPr lang="en-US" sz="3200" dirty="0">
                <a:solidFill>
                  <a:srgbClr val="FF0000"/>
                </a:solidFill>
              </a:rPr>
              <a:t>Your Strategy</a:t>
            </a:r>
          </a:p>
        </p:txBody>
      </p:sp>
      <p:sp>
        <p:nvSpPr>
          <p:cNvPr id="2" name="TextBox 1">
            <a:extLst>
              <a:ext uri="{FF2B5EF4-FFF2-40B4-BE49-F238E27FC236}">
                <a16:creationId xmlns:a16="http://schemas.microsoft.com/office/drawing/2014/main" id="{D10FDB33-D778-9DAF-C83D-AFE31F7C3F4F}"/>
              </a:ext>
            </a:extLst>
          </p:cNvPr>
          <p:cNvSpPr txBox="1"/>
          <p:nvPr/>
        </p:nvSpPr>
        <p:spPr>
          <a:xfrm>
            <a:off x="7660910" y="4771904"/>
            <a:ext cx="1969477" cy="584775"/>
          </a:xfrm>
          <a:prstGeom prst="rect">
            <a:avLst/>
          </a:prstGeom>
          <a:noFill/>
        </p:spPr>
        <p:txBody>
          <a:bodyPr wrap="square" rtlCol="0">
            <a:spAutoFit/>
          </a:bodyPr>
          <a:lstStyle/>
          <a:p>
            <a:r>
              <a:rPr lang="en-US" sz="1400" dirty="0"/>
              <a:t>Denise Cushaney </a:t>
            </a:r>
          </a:p>
          <a:p>
            <a:endParaRPr lang="en-US" dirty="0"/>
          </a:p>
        </p:txBody>
      </p:sp>
    </p:spTree>
    <p:extLst>
      <p:ext uri="{BB962C8B-B14F-4D97-AF65-F5344CB8AC3E}">
        <p14:creationId xmlns:p14="http://schemas.microsoft.com/office/powerpoint/2010/main" val="1116907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Diagram, engineering drawing&#10;&#10;Description automatically generated">
            <a:extLst>
              <a:ext uri="{FF2B5EF4-FFF2-40B4-BE49-F238E27FC236}">
                <a16:creationId xmlns:a16="http://schemas.microsoft.com/office/drawing/2014/main" id="{8F16DDF9-C4B3-0822-EAC4-F2865F152A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7917" y="1"/>
            <a:ext cx="5006084" cy="5143499"/>
          </a:xfrm>
          <a:prstGeom prst="rect">
            <a:avLst/>
          </a:prstGeom>
        </p:spPr>
      </p:pic>
      <p:graphicFrame>
        <p:nvGraphicFramePr>
          <p:cNvPr id="6" name="Object 5" hidden="1">
            <a:extLst>
              <a:ext uri="{FF2B5EF4-FFF2-40B4-BE49-F238E27FC236}">
                <a16:creationId xmlns:a16="http://schemas.microsoft.com/office/drawing/2014/main" id="{A8F190F2-A314-224A-4427-145CA509148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Object 5" hidden="1">
                        <a:extLst>
                          <a:ext uri="{FF2B5EF4-FFF2-40B4-BE49-F238E27FC236}">
                            <a16:creationId xmlns:a16="http://schemas.microsoft.com/office/drawing/2014/main" id="{A8F190F2-A314-224A-4427-145CA509148D}"/>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861E040-A596-5EA3-C10D-BDB01C1BFC2C}"/>
              </a:ext>
            </a:extLst>
          </p:cNvPr>
          <p:cNvSpPr/>
          <p:nvPr/>
        </p:nvSpPr>
        <p:spPr>
          <a:xfrm>
            <a:off x="0" y="0"/>
            <a:ext cx="4137917"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2" name="Title 1">
            <a:extLst>
              <a:ext uri="{FF2B5EF4-FFF2-40B4-BE49-F238E27FC236}">
                <a16:creationId xmlns:a16="http://schemas.microsoft.com/office/drawing/2014/main" id="{82DB62DB-3E8E-2C13-BB0E-67E7635BDAA7}"/>
              </a:ext>
            </a:extLst>
          </p:cNvPr>
          <p:cNvSpPr>
            <a:spLocks noGrp="1"/>
          </p:cNvSpPr>
          <p:nvPr>
            <p:ph type="title"/>
          </p:nvPr>
        </p:nvSpPr>
        <p:spPr>
          <a:xfrm>
            <a:off x="342900" y="538349"/>
            <a:ext cx="3086101" cy="4066801"/>
          </a:xfrm>
        </p:spPr>
        <p:txBody>
          <a:bodyPr vert="horz" lIns="0" tIns="0" rIns="0" bIns="0" rtlCol="0" anchor="t" anchorCtr="0">
            <a:noAutofit/>
          </a:bodyPr>
          <a:lstStyle/>
          <a:p>
            <a:r>
              <a:rPr lang="en-US" sz="2700">
                <a:solidFill>
                  <a:schemeClr val="bg1"/>
                </a:solidFill>
              </a:rPr>
              <a:t>Success depends on strategy and execution in a complex environment with many moving parts </a:t>
            </a:r>
          </a:p>
        </p:txBody>
      </p:sp>
      <p:sp>
        <p:nvSpPr>
          <p:cNvPr id="11" name="TextBox 10">
            <a:extLst>
              <a:ext uri="{FF2B5EF4-FFF2-40B4-BE49-F238E27FC236}">
                <a16:creationId xmlns:a16="http://schemas.microsoft.com/office/drawing/2014/main" id="{0D9DE6BD-703E-CB66-72E4-AA9FB94607C1}"/>
              </a:ext>
            </a:extLst>
          </p:cNvPr>
          <p:cNvSpPr txBox="1"/>
          <p:nvPr/>
        </p:nvSpPr>
        <p:spPr>
          <a:xfrm>
            <a:off x="342900" y="4794912"/>
            <a:ext cx="5479542" cy="115416"/>
          </a:xfrm>
          <a:prstGeom prst="rect">
            <a:avLst/>
          </a:prstGeom>
          <a:noFill/>
        </p:spPr>
        <p:txBody>
          <a:bodyPr wrap="square" lIns="0" tIns="0" rIns="0" bIns="0" rtlCol="0" anchor="b" anchorCtr="0">
            <a:spAutoFit/>
          </a:bodyPr>
          <a:lstStyle/>
          <a:p>
            <a:pPr marL="171450" indent="-171450"/>
            <a:fld id="{E19460A7-1930-4D5F-A936-CB6F16095A68}" type="slidenum">
              <a:rPr lang="en-US" sz="750">
                <a:solidFill>
                  <a:schemeClr val="bg1"/>
                </a:solidFill>
              </a:rPr>
              <a:pPr marL="171450" indent="-171450"/>
              <a:t>8</a:t>
            </a:fld>
            <a:r>
              <a:rPr lang="en-US" sz="525">
                <a:solidFill>
                  <a:schemeClr val="bg1"/>
                </a:solidFill>
              </a:rPr>
              <a:t>	© 2023 Gartner, Inc. and/or its affiliates. All rights reserved.				</a:t>
            </a:r>
          </a:p>
        </p:txBody>
      </p:sp>
      <p:pic>
        <p:nvPicPr>
          <p:cNvPr id="14" name="Picture 13" descr="A picture containing text, clipart&#10;&#10;Description automatically generated">
            <a:extLst>
              <a:ext uri="{FF2B5EF4-FFF2-40B4-BE49-F238E27FC236}">
                <a16:creationId xmlns:a16="http://schemas.microsoft.com/office/drawing/2014/main" id="{A6A6F0B1-2CC8-1E9B-D181-8E69088275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79122" y="4713158"/>
            <a:ext cx="1220868" cy="278925"/>
          </a:xfrm>
          <a:prstGeom prst="rect">
            <a:avLst/>
          </a:prstGeom>
        </p:spPr>
      </p:pic>
    </p:spTree>
    <p:extLst>
      <p:ext uri="{BB962C8B-B14F-4D97-AF65-F5344CB8AC3E}">
        <p14:creationId xmlns:p14="http://schemas.microsoft.com/office/powerpoint/2010/main" val="17064805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BCA4EE8-655E-C58A-4E49-E05E9D23B6DC}"/>
              </a:ext>
            </a:extLst>
          </p:cNvPr>
          <p:cNvSpPr/>
          <p:nvPr/>
        </p:nvSpPr>
        <p:spPr>
          <a:xfrm>
            <a:off x="0" y="1"/>
            <a:ext cx="9144000" cy="5143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788">
              <a:solidFill>
                <a:prstClr val="black"/>
              </a:solidFill>
              <a:latin typeface="Arial" panose="020B0604020202020204"/>
            </a:endParaRPr>
          </a:p>
        </p:txBody>
      </p:sp>
      <p:graphicFrame>
        <p:nvGraphicFramePr>
          <p:cNvPr id="5" name="Object 4" hidden="1">
            <a:extLst>
              <a:ext uri="{FF2B5EF4-FFF2-40B4-BE49-F238E27FC236}">
                <a16:creationId xmlns:a16="http://schemas.microsoft.com/office/drawing/2014/main" id="{F135A9FF-F6DB-894F-979F-E41DB533EC4F}"/>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F135A9FF-F6DB-894F-979F-E41DB533EC4F}"/>
                          </a:ext>
                        </a:extLst>
                      </p:cNvPr>
                      <p:cNvPicPr/>
                      <p:nvPr/>
                    </p:nvPicPr>
                    <p:blipFill>
                      <a:blip r:embed="rId5"/>
                      <a:stretch>
                        <a:fillRect/>
                      </a:stretch>
                    </p:blipFill>
                    <p:spPr>
                      <a:xfrm>
                        <a:off x="1192" y="1191"/>
                        <a:ext cx="920"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3FBFCC-432A-418D-9853-3F5B95C7EA43}"/>
              </a:ext>
            </a:extLst>
          </p:cNvPr>
          <p:cNvSpPr>
            <a:spLocks noGrp="1"/>
          </p:cNvSpPr>
          <p:nvPr>
            <p:ph type="ctrTitle"/>
          </p:nvPr>
        </p:nvSpPr>
        <p:spPr>
          <a:xfrm>
            <a:off x="448690" y="764121"/>
            <a:ext cx="6768635" cy="844246"/>
          </a:xfrm>
        </p:spPr>
        <p:txBody>
          <a:bodyPr vert="horz">
            <a:normAutofit/>
          </a:bodyPr>
          <a:lstStyle/>
          <a:p>
            <a:r>
              <a:rPr lang="en-US" sz="2400" dirty="0"/>
              <a:t>You are equipped with the insights, guidance and tools to execute on your strategy</a:t>
            </a:r>
            <a:endParaRPr lang="en-US" sz="2400" dirty="0">
              <a:cs typeface="Arial" panose="020B0604020202020204"/>
            </a:endParaRPr>
          </a:p>
        </p:txBody>
      </p:sp>
      <p:pic>
        <p:nvPicPr>
          <p:cNvPr id="9" name="Picture 8">
            <a:extLst>
              <a:ext uri="{FF2B5EF4-FFF2-40B4-BE49-F238E27FC236}">
                <a16:creationId xmlns:a16="http://schemas.microsoft.com/office/drawing/2014/main" id="{6938D1B8-4351-1673-1C45-C760B14F1A7B}"/>
              </a:ext>
            </a:extLst>
          </p:cNvPr>
          <p:cNvPicPr>
            <a:picLocks noChangeAspect="1"/>
          </p:cNvPicPr>
          <p:nvPr/>
        </p:nvPicPr>
        <p:blipFill>
          <a:blip r:embed="rId6"/>
          <a:stretch>
            <a:fillRect/>
          </a:stretch>
        </p:blipFill>
        <p:spPr>
          <a:xfrm>
            <a:off x="7837714" y="4675583"/>
            <a:ext cx="969265" cy="221442"/>
          </a:xfrm>
          <a:prstGeom prst="rect">
            <a:avLst/>
          </a:prstGeom>
        </p:spPr>
      </p:pic>
      <p:sp>
        <p:nvSpPr>
          <p:cNvPr id="12" name="TextBox 11">
            <a:extLst>
              <a:ext uri="{FF2B5EF4-FFF2-40B4-BE49-F238E27FC236}">
                <a16:creationId xmlns:a16="http://schemas.microsoft.com/office/drawing/2014/main" id="{5B65CCF9-5B1D-DD1E-0B78-67331C79D8A4}"/>
              </a:ext>
            </a:extLst>
          </p:cNvPr>
          <p:cNvSpPr txBox="1"/>
          <p:nvPr/>
        </p:nvSpPr>
        <p:spPr>
          <a:xfrm>
            <a:off x="521208" y="4726667"/>
            <a:ext cx="1735074" cy="80791"/>
          </a:xfrm>
          <a:prstGeom prst="rect">
            <a:avLst/>
          </a:prstGeom>
          <a:noFill/>
        </p:spPr>
        <p:txBody>
          <a:bodyPr wrap="square" lIns="0" tIns="0" rIns="0" bIns="0" rtlCol="0" anchor="b" anchorCtr="0">
            <a:spAutoFit/>
          </a:bodyPr>
          <a:lstStyle/>
          <a:p>
            <a:pPr defTabSz="685800">
              <a:defRPr/>
            </a:pPr>
            <a:r>
              <a:rPr lang="en-US" sz="525" b="1">
                <a:solidFill>
                  <a:prstClr val="white"/>
                </a:solidFill>
                <a:latin typeface="Arial" panose="020B0604020202020204"/>
              </a:rPr>
              <a:t>RESTRICTED DISTRIBUTION</a:t>
            </a:r>
          </a:p>
        </p:txBody>
      </p:sp>
      <p:sp>
        <p:nvSpPr>
          <p:cNvPr id="13" name="TextBox 12">
            <a:extLst>
              <a:ext uri="{FF2B5EF4-FFF2-40B4-BE49-F238E27FC236}">
                <a16:creationId xmlns:a16="http://schemas.microsoft.com/office/drawing/2014/main" id="{8E6A871F-DD18-EDF4-E5BE-446D885BB4B0}"/>
              </a:ext>
            </a:extLst>
          </p:cNvPr>
          <p:cNvSpPr txBox="1"/>
          <p:nvPr/>
        </p:nvSpPr>
        <p:spPr>
          <a:xfrm>
            <a:off x="342900" y="4794912"/>
            <a:ext cx="5479542" cy="115416"/>
          </a:xfrm>
          <a:prstGeom prst="rect">
            <a:avLst/>
          </a:prstGeom>
          <a:noFill/>
        </p:spPr>
        <p:txBody>
          <a:bodyPr wrap="square" lIns="0" tIns="0" rIns="0" bIns="0" rtlCol="0" anchor="b" anchorCtr="0">
            <a:spAutoFit/>
          </a:bodyPr>
          <a:lstStyle/>
          <a:p>
            <a:pPr marL="171450" indent="-171450" defTabSz="685800">
              <a:defRPr/>
            </a:pPr>
            <a:fld id="{E19460A7-1930-4D5F-A936-CB6F16095A68}" type="slidenum">
              <a:rPr lang="en-US" sz="750">
                <a:solidFill>
                  <a:prstClr val="white"/>
                </a:solidFill>
                <a:latin typeface="Arial" panose="020B0604020202020204"/>
              </a:rPr>
              <a:pPr marL="171450" indent="-171450" defTabSz="685800">
                <a:defRPr/>
              </a:pPr>
              <a:t>9</a:t>
            </a:fld>
            <a:r>
              <a:rPr lang="en-US" sz="525">
                <a:solidFill>
                  <a:prstClr val="white"/>
                </a:solidFill>
                <a:latin typeface="Arial" panose="020B0604020202020204"/>
              </a:rPr>
              <a:t>	© 2023 Gartner, Inc. and/or its affiliates. All rights reserved.				</a:t>
            </a:r>
          </a:p>
        </p:txBody>
      </p:sp>
      <p:sp>
        <p:nvSpPr>
          <p:cNvPr id="15" name="TextBox 14">
            <a:extLst>
              <a:ext uri="{FF2B5EF4-FFF2-40B4-BE49-F238E27FC236}">
                <a16:creationId xmlns:a16="http://schemas.microsoft.com/office/drawing/2014/main" id="{D4B01D87-CBF1-217C-1056-0D48B4314C4A}"/>
              </a:ext>
            </a:extLst>
          </p:cNvPr>
          <p:cNvSpPr txBox="1"/>
          <p:nvPr/>
        </p:nvSpPr>
        <p:spPr>
          <a:xfrm>
            <a:off x="520880" y="1891391"/>
            <a:ext cx="5925639" cy="1701684"/>
          </a:xfrm>
          <a:prstGeom prst="rect">
            <a:avLst/>
          </a:prstGeom>
          <a:noFill/>
        </p:spPr>
        <p:txBody>
          <a:bodyPr wrap="square" lIns="0" rIns="0" rtlCol="0">
            <a:spAutoFit/>
          </a:bodyPr>
          <a:lstStyle/>
          <a:p>
            <a:pPr defTabSz="685800">
              <a:lnSpc>
                <a:spcPct val="110000"/>
              </a:lnSpc>
              <a:defRPr/>
            </a:pPr>
            <a:r>
              <a:rPr lang="en-US" sz="1200" b="1">
                <a:solidFill>
                  <a:prstClr val="white"/>
                </a:solidFill>
                <a:latin typeface="Arial" panose="020B0604020202020204"/>
                <a:ea typeface="Yu Gothic" panose="020B0400000000000000" pitchFamily="34" charset="-128"/>
              </a:rPr>
              <a:t>Gartner for Technical Professionals </a:t>
            </a:r>
            <a:r>
              <a:rPr lang="en-US" sz="1200">
                <a:solidFill>
                  <a:prstClr val="white"/>
                </a:solidFill>
                <a:latin typeface="Arial" panose="020B0604020202020204"/>
                <a:ea typeface="Yu Gothic" panose="020B0400000000000000" pitchFamily="34" charset="-128"/>
              </a:rPr>
              <a:t>gives technical domain architects the actionable research, expert guidance and interactive tools to deliver on their leaders’ tech strategy.</a:t>
            </a:r>
          </a:p>
          <a:p>
            <a:pPr defTabSz="685800">
              <a:lnSpc>
                <a:spcPct val="110000"/>
              </a:lnSpc>
              <a:defRPr/>
            </a:pPr>
            <a:r>
              <a:rPr lang="en-US" sz="1200">
                <a:solidFill>
                  <a:prstClr val="white"/>
                </a:solidFill>
                <a:latin typeface="Arial" panose="020B0604020202020204"/>
                <a:ea typeface="Yu Gothic" panose="020B0400000000000000" pitchFamily="34" charset="-128"/>
              </a:rPr>
              <a:t> </a:t>
            </a:r>
          </a:p>
          <a:p>
            <a:pPr defTabSz="685800">
              <a:lnSpc>
                <a:spcPct val="110000"/>
              </a:lnSpc>
              <a:defRPr/>
            </a:pPr>
            <a:r>
              <a:rPr lang="en-US" sz="1200">
                <a:solidFill>
                  <a:prstClr val="white"/>
                </a:solidFill>
                <a:latin typeface="Arial" panose="020B0604020202020204"/>
                <a:ea typeface="Yu Gothic" panose="020B0400000000000000" pitchFamily="34" charset="-128"/>
              </a:rPr>
              <a:t>Architects will get support to understand emerging technology, what they need and how it fits in their specific environments. They will also have access to strategic advice on what products to buy and how to deliver initiatives tied to their critical priorities. Access to r</a:t>
            </a:r>
            <a:r>
              <a:rPr lang="en-US" sz="1200">
                <a:solidFill>
                  <a:prstClr val="white"/>
                </a:solidFill>
                <a:latin typeface="Arial" panose="020B0604020202020204"/>
              </a:rPr>
              <a:t>eference architectures, planning guides, technology assessments and more will enable </a:t>
            </a:r>
            <a:r>
              <a:rPr lang="en-US" sz="1200">
                <a:solidFill>
                  <a:prstClr val="white"/>
                </a:solidFill>
                <a:latin typeface="Arial" panose="020B0604020202020204"/>
                <a:ea typeface="Yu Gothic" panose="020B0400000000000000" pitchFamily="34" charset="-128"/>
              </a:rPr>
              <a:t>them to accelerate project timelines, avoid costly pitfalls and validate solutions</a:t>
            </a:r>
            <a:r>
              <a:rPr lang="en-US" sz="1200">
                <a:solidFill>
                  <a:prstClr val="white"/>
                </a:solidFill>
                <a:latin typeface="Arial" panose="020B0604020202020204"/>
              </a:rPr>
              <a:t>. </a:t>
            </a:r>
            <a:endParaRPr lang="en-US" sz="1200">
              <a:solidFill>
                <a:prstClr val="white"/>
              </a:solidFill>
              <a:latin typeface="Arial" panose="020B0604020202020204"/>
              <a:ea typeface="Yu Gothic" panose="020B0400000000000000" pitchFamily="34" charset="-128"/>
            </a:endParaRPr>
          </a:p>
        </p:txBody>
      </p:sp>
      <p:cxnSp>
        <p:nvCxnSpPr>
          <p:cNvPr id="23" name="Straight Connector 22">
            <a:extLst>
              <a:ext uri="{FF2B5EF4-FFF2-40B4-BE49-F238E27FC236}">
                <a16:creationId xmlns:a16="http://schemas.microsoft.com/office/drawing/2014/main" id="{00262E42-5064-1BD9-94C5-9D1FCC1FFF49}"/>
              </a:ext>
            </a:extLst>
          </p:cNvPr>
          <p:cNvCxnSpPr/>
          <p:nvPr/>
        </p:nvCxnSpPr>
        <p:spPr>
          <a:xfrm>
            <a:off x="520881" y="1884664"/>
            <a:ext cx="5925638" cy="0"/>
          </a:xfrm>
          <a:prstGeom prst="line">
            <a:avLst/>
          </a:prstGeom>
          <a:noFill/>
          <a:ln w="12700" cap="flat" cmpd="sng">
            <a:solidFill>
              <a:schemeClr val="accent4"/>
            </a:solidFill>
            <a:prstDash val="solid"/>
            <a:round/>
            <a:headEnd type="none" w="lg" len="med"/>
            <a:tailEnd type="none" w="lg" len="med"/>
          </a:ln>
        </p:spPr>
      </p:cxnSp>
    </p:spTree>
    <p:extLst>
      <p:ext uri="{BB962C8B-B14F-4D97-AF65-F5344CB8AC3E}">
        <p14:creationId xmlns:p14="http://schemas.microsoft.com/office/powerpoint/2010/main" val="24584921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z6rrEL7IH9LS3qOFdwG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82AB5BAEC8E648A2742CACB06F527E" ma:contentTypeVersion="17" ma:contentTypeDescription="Create a new document." ma:contentTypeScope="" ma:versionID="cab9b7967b9fe2b287d11f37cbd7c088">
  <xsd:schema xmlns:xsd="http://www.w3.org/2001/XMLSchema" xmlns:xs="http://www.w3.org/2001/XMLSchema" xmlns:p="http://schemas.microsoft.com/office/2006/metadata/properties" xmlns:ns2="205bfbc1-e8b8-4860-980c-b93c7920f507" xmlns:ns3="4fe2d134-2c53-492a-a75e-0f91237ab10d" targetNamespace="http://schemas.microsoft.com/office/2006/metadata/properties" ma:root="true" ma:fieldsID="63b1f558474dd31af1c5564f744b18fe" ns2:_="" ns3:_="">
    <xsd:import namespace="205bfbc1-e8b8-4860-980c-b93c7920f507"/>
    <xsd:import namespace="4fe2d134-2c53-492a-a75e-0f91237ab10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AutoTag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5bfbc1-e8b8-4860-980c-b93c7920f5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dea7019a-c3dc-464b-ba2f-0a559e84983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fe2d134-2c53-492a-a75e-0f91237ab10d"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0c8913f3-194d-48da-b09a-8442723d2b9f}" ma:internalName="TaxCatchAll" ma:showField="CatchAllData" ma:web="4fe2d134-2c53-492a-a75e-0f91237ab10d">
      <xsd:complexType>
        <xsd:complexContent>
          <xsd:extension base="dms:MultiChoiceLookup">
            <xsd:sequence>
              <xsd:element name="Value" type="dms:Lookup" maxOccurs="unbounded" minOccurs="0" nillable="true"/>
            </xsd:sequence>
          </xsd:extension>
        </xsd:complexContent>
      </xsd:complexType>
    </xsd:element>
    <xsd:element name="SharedWithUsers" ma:index="2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fe2d134-2c53-492a-a75e-0f91237ab10d" xsi:nil="true"/>
    <lcf76f155ced4ddcb4097134ff3c332f xmlns="205bfbc1-e8b8-4860-980c-b93c7920f507">
      <Terms xmlns="http://schemas.microsoft.com/office/infopath/2007/PartnerControls"/>
    </lcf76f155ced4ddcb4097134ff3c332f>
    <SharedWithUsers xmlns="4fe2d134-2c53-492a-a75e-0f91237ab10d">
      <UserInfo>
        <DisplayName>Smoak, Todd</DisplayName>
        <AccountId>30</AccountId>
        <AccountType/>
      </UserInfo>
      <UserInfo>
        <DisplayName>Piper, Tyler</DisplayName>
        <AccountId>31</AccountId>
        <AccountType/>
      </UserInfo>
      <UserInfo>
        <DisplayName>Regilio, Michael</DisplayName>
        <AccountId>26</AccountId>
        <AccountType/>
      </UserInfo>
      <UserInfo>
        <DisplayName>Jackson, Craig</DisplayName>
        <AccountId>32</AccountId>
        <AccountType/>
      </UserInfo>
      <UserInfo>
        <DisplayName>Ramirez, Arturo</DisplayName>
        <AccountId>33</AccountId>
        <AccountType/>
      </UserInfo>
      <UserInfo>
        <DisplayName>Taube, Dan</DisplayName>
        <AccountId>34</AccountId>
        <AccountType/>
      </UserInfo>
      <UserInfo>
        <DisplayName>Nance-Carroll, Liam</DisplayName>
        <AccountId>25</AccountId>
        <AccountType/>
      </UserInfo>
      <UserInfo>
        <DisplayName>Hamann, Bill</DisplayName>
        <AccountId>17</AccountId>
        <AccountType/>
      </UserInfo>
      <UserInfo>
        <DisplayName>Doherty, Liam</DisplayName>
        <AccountId>15</AccountId>
        <AccountType/>
      </UserInfo>
      <UserInfo>
        <DisplayName>Grabb, Jeff</DisplayName>
        <AccountId>1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45A8BB-26D6-4EE7-BC8B-ADB968B379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5bfbc1-e8b8-4860-980c-b93c7920f507"/>
    <ds:schemaRef ds:uri="4fe2d134-2c53-492a-a75e-0f91237ab1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75A361D-4C9D-46B5-A125-55DDDC5245CE}">
  <ds:schemaRefs>
    <ds:schemaRef ds:uri="http://www.w3.org/XML/1998/namespace"/>
    <ds:schemaRef ds:uri="http://schemas.microsoft.com/office/2006/documentManagement/types"/>
    <ds:schemaRef ds:uri="http://purl.org/dc/terms/"/>
    <ds:schemaRef ds:uri="http://schemas.microsoft.com/office/2006/metadata/properties"/>
    <ds:schemaRef ds:uri="http://purl.org/dc/dcmitype/"/>
    <ds:schemaRef ds:uri="http://schemas.openxmlformats.org/package/2006/metadata/core-properties"/>
    <ds:schemaRef ds:uri="205bfbc1-e8b8-4860-980c-b93c7920f507"/>
    <ds:schemaRef ds:uri="http://purl.org/dc/elements/1.1/"/>
    <ds:schemaRef ds:uri="http://schemas.microsoft.com/office/infopath/2007/PartnerControls"/>
    <ds:schemaRef ds:uri="4fe2d134-2c53-492a-a75e-0f91237ab10d"/>
  </ds:schemaRefs>
</ds:datastoreItem>
</file>

<file path=customXml/itemProps3.xml><?xml version="1.0" encoding="utf-8"?>
<ds:datastoreItem xmlns:ds="http://schemas.openxmlformats.org/officeDocument/2006/customXml" ds:itemID="{7B5935A1-09BC-4973-B550-527C0C2117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52</TotalTime>
  <Words>3744</Words>
  <Application>Microsoft Office PowerPoint</Application>
  <PresentationFormat>On-screen Show (16:9)</PresentationFormat>
  <Paragraphs>540</Paragraphs>
  <Slides>49</Slides>
  <Notes>45</Notes>
  <HiddenSlides>0</HiddenSlides>
  <MMClips>0</MMClips>
  <ScaleCrop>false</ScaleCrop>
  <HeadingPairs>
    <vt:vector size="4" baseType="variant">
      <vt:variant>
        <vt:lpstr>Theme</vt:lpstr>
      </vt:variant>
      <vt:variant>
        <vt:i4>1</vt:i4>
      </vt:variant>
      <vt:variant>
        <vt:lpstr>Slide Titles</vt:lpstr>
      </vt:variant>
      <vt:variant>
        <vt:i4>49</vt:i4>
      </vt:variant>
    </vt:vector>
  </HeadingPairs>
  <TitlesOfParts>
    <vt:vector size="50" baseType="lpstr">
      <vt:lpstr>Office Theme</vt:lpstr>
      <vt:lpstr>PowerPoint Presentation</vt:lpstr>
      <vt:lpstr>Welcome to the  2023 CIT Annual Conference</vt:lpstr>
      <vt:lpstr>IT News</vt:lpstr>
      <vt:lpstr>IT News Rules of the Road</vt:lpstr>
      <vt:lpstr>“Yes, You Can with Canvas!”</vt:lpstr>
      <vt:lpstr>“Yes, You Can with Canvas!”</vt:lpstr>
      <vt:lpstr>Actionable Insights to Drive  Your Strategy</vt:lpstr>
      <vt:lpstr>Success depends on strategy and execution in a complex environment with many moving parts </vt:lpstr>
      <vt:lpstr>You are equipped with the insights, guidance and tools to execute on your strategy</vt:lpstr>
      <vt:lpstr>You and your team have access to actionable insights and support for technical implementation and execution</vt:lpstr>
      <vt:lpstr>Access to GTP empowers your technical domain architects to deliver value across the organization </vt:lpstr>
      <vt:lpstr>PowerPoint Presentation</vt:lpstr>
      <vt:lpstr>Your Technical Domain Architects have access to technical content to support each phases of your initiative</vt:lpstr>
      <vt:lpstr>GTP Deep Coverage Areas</vt:lpstr>
      <vt:lpstr>PowerPoint Presentation</vt:lpstr>
      <vt:lpstr>Thank you!</vt:lpstr>
      <vt:lpstr>Confluence Status</vt:lpstr>
      <vt:lpstr>Confluence Article Stats</vt:lpstr>
      <vt:lpstr>Confluence 2023 Roadmap</vt:lpstr>
      <vt:lpstr>Cherwell ITSM</vt:lpstr>
      <vt:lpstr>Ivanti Neurons for ITSM</vt:lpstr>
      <vt:lpstr>CIT MVP Award</vt:lpstr>
      <vt:lpstr>CIT MVP Award Nominee</vt:lpstr>
      <vt:lpstr>CIT MVP Award Nominee</vt:lpstr>
      <vt:lpstr>CIT MVP Award Nominee</vt:lpstr>
      <vt:lpstr>CIT MVP Award</vt:lpstr>
      <vt:lpstr>Congratulations on your retirement!</vt:lpstr>
      <vt:lpstr>Thank you!</vt:lpstr>
      <vt:lpstr>ION - Infrastructure</vt:lpstr>
      <vt:lpstr>ION - Services</vt:lpstr>
      <vt:lpstr>RCAB &amp; BNIA</vt:lpstr>
      <vt:lpstr>Uniform web presence</vt:lpstr>
      <vt:lpstr>PowerPoint Presentation</vt:lpstr>
      <vt:lpstr>Windows 11 Strategy</vt:lpstr>
      <vt:lpstr>Windows 11 Key Dates</vt:lpstr>
      <vt:lpstr>Lab Prep for Fall</vt:lpstr>
      <vt:lpstr>Information Security Brief</vt:lpstr>
      <vt:lpstr>Identity and Access Management</vt:lpstr>
      <vt:lpstr>Threat Landscape</vt:lpstr>
      <vt:lpstr>Threat Landscape</vt:lpstr>
      <vt:lpstr>Threat Landscape</vt:lpstr>
      <vt:lpstr>Information Security Program History</vt:lpstr>
      <vt:lpstr>Information Security Program Vision</vt:lpstr>
      <vt:lpstr>Information Security Program Vision</vt:lpstr>
      <vt:lpstr>Information Security Program Vision</vt:lpstr>
      <vt:lpstr>College Technology Directors Council </vt:lpstr>
      <vt:lpstr>WebCheckout </vt:lpstr>
      <vt:lpstr>That’s a Wra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rek</dc:creator>
  <cp:lastModifiedBy>Birckelbaw, Carla</cp:lastModifiedBy>
  <cp:revision>5</cp:revision>
  <dcterms:created xsi:type="dcterms:W3CDTF">2016-07-01T14:13:07Z</dcterms:created>
  <dcterms:modified xsi:type="dcterms:W3CDTF">2023-08-01T18: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82AB5BAEC8E648A2742CACB06F527E</vt:lpwstr>
  </property>
  <property fmtid="{D5CDD505-2E9C-101B-9397-08002B2CF9AE}" pid="3" name="MediaServiceImageTags">
    <vt:lpwstr/>
  </property>
</Properties>
</file>